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3"/>
  </p:notesMasterIdLst>
  <p:sldIdLst>
    <p:sldId id="2147377053" r:id="rId5"/>
    <p:sldId id="5728" r:id="rId6"/>
    <p:sldId id="5681" r:id="rId7"/>
    <p:sldId id="5735" r:id="rId8"/>
    <p:sldId id="2147377054" r:id="rId9"/>
    <p:sldId id="5689" r:id="rId10"/>
    <p:sldId id="5738" r:id="rId11"/>
    <p:sldId id="2147377055" r:id="rId12"/>
    <p:sldId id="5692" r:id="rId13"/>
    <p:sldId id="5736" r:id="rId14"/>
    <p:sldId id="5755" r:id="rId15"/>
    <p:sldId id="5747" r:id="rId16"/>
    <p:sldId id="5757" r:id="rId17"/>
    <p:sldId id="5713" r:id="rId18"/>
    <p:sldId id="2147377056" r:id="rId19"/>
    <p:sldId id="5715" r:id="rId20"/>
    <p:sldId id="5748" r:id="rId21"/>
    <p:sldId id="5717" r:id="rId22"/>
    <p:sldId id="5752" r:id="rId23"/>
    <p:sldId id="5737" r:id="rId24"/>
    <p:sldId id="259" r:id="rId25"/>
    <p:sldId id="5754" r:id="rId26"/>
    <p:sldId id="5741" r:id="rId27"/>
    <p:sldId id="5740" r:id="rId28"/>
    <p:sldId id="5742" r:id="rId29"/>
    <p:sldId id="5750" r:id="rId30"/>
    <p:sldId id="5751" r:id="rId31"/>
    <p:sldId id="5716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ma" id="{3BA2D112-83F2-46B4-BE40-954ACD01FC29}">
          <p14:sldIdLst>
            <p14:sldId id="2147377053"/>
            <p14:sldId id="5728"/>
            <p14:sldId id="5681"/>
            <p14:sldId id="5735"/>
            <p14:sldId id="2147377054"/>
            <p14:sldId id="5689"/>
            <p14:sldId id="5738"/>
            <p14:sldId id="2147377055"/>
            <p14:sldId id="5692"/>
            <p14:sldId id="5736"/>
            <p14:sldId id="5755"/>
            <p14:sldId id="5747"/>
            <p14:sldId id="5757"/>
            <p14:sldId id="5713"/>
            <p14:sldId id="2147377056"/>
            <p14:sldId id="5715"/>
            <p14:sldId id="5748"/>
            <p14:sldId id="5717"/>
            <p14:sldId id="5752"/>
            <p14:sldId id="5737"/>
            <p14:sldId id="259"/>
            <p14:sldId id="5754"/>
            <p14:sldId id="5741"/>
            <p14:sldId id="5740"/>
            <p14:sldId id="5742"/>
            <p14:sldId id="5750"/>
            <p14:sldId id="5751"/>
            <p14:sldId id="5716"/>
          </p14:sldIdLst>
        </p14:section>
        <p14:section name="Quique" id="{A1615083-FB1A-47A7-B5FB-BF04E7004E33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9C2D"/>
    <a:srgbClr val="57D40A"/>
    <a:srgbClr val="4FA14A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EAECE1-E260-BDDA-D811-40FEBED65615}" v="1" dt="2025-06-23T13:58:14.8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79834" autoAdjust="0"/>
  </p:normalViewPr>
  <p:slideViewPr>
    <p:cSldViewPr snapToGrid="0">
      <p:cViewPr varScale="1">
        <p:scale>
          <a:sx n="99" d="100"/>
          <a:sy n="99" d="100"/>
        </p:scale>
        <p:origin x="124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champssl.sharepoint.com/sites/CHAMPSSierraLeone65/Shared%20Documents/1.%20Workstreams/2.%20Data%20and%20Informatics/CHAMPS/Descriptive%20Analysis/Malaria%20Analysi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champssl.sharepoint.com/sites/CHAMPSSierraLeone65/Shared%20Documents/1.%20Workstreams/2.%20Data%20and%20Informatics/CHAMPS/Descriptive%20Analysis/Malaria%20Analysi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\dickenskowuor\Desktop\Adults%20MITS%20Interim%20Analysis_20250414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https://champssl.sharepoint.com/sites/CHAMPSSierraLeone65/Shared%20Documents/1.%20Workstreams/2.%20Data%20and%20Informatics/CHAMPS/Descriptive%20Analysis/Adults%20MITS%20Interim%20Analysis_20250401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\dickenskowuor\Desktop\Adults%20MITS%20Interim%20Analysis_20250414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https://champssl.sharepoint.com/sites/CHAMPSSierraLeone65/Shared%20Documents/1.%20Workstreams/2.%20Data%20and%20Informatics/CHAMPS/Descriptive%20Analysis/Adults%20MITS%20Interim%20Analysis_20250401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champssl.sharepoint.com/sites/CHAMPSSierraLeone65/Shared%20Documents/1.%20Workstreams/2.%20Data%20and%20Informatics/CHAMPS/Descriptive%20Analysis/Malaria%20Analysi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champssl.sharepoint.com/sites/CHAMPSSierraLeone65/Shared%20Documents/1.%20Workstreams/2.%20Data%20and%20Informatics/CHAMPS/Descriptive%20Analysis/Malaria%20Analysi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baseline="0" dirty="0"/>
              <a:t>(N=622)</a:t>
            </a:r>
            <a:endParaRPr lang="en-SL" sz="24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SL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B55-3B4E-B853-D7DD73862E1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B55-3B4E-B853-D7DD73862E1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BOTH SITES'!$M$3:$M$4</c:f>
              <c:strCache>
                <c:ptCount val="2"/>
                <c:pt idx="0">
                  <c:v>Positive</c:v>
                </c:pt>
                <c:pt idx="1">
                  <c:v>Negative</c:v>
                </c:pt>
              </c:strCache>
            </c:strRef>
          </c:cat>
          <c:val>
            <c:numRef>
              <c:f>'BOTH SITES'!$P$3:$P$4</c:f>
              <c:numCache>
                <c:formatCode>0.0%</c:formatCode>
                <c:ptCount val="2"/>
                <c:pt idx="0">
                  <c:v>0.30337078651685395</c:v>
                </c:pt>
                <c:pt idx="1">
                  <c:v>0.6966292134831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55-3B4E-B853-D7DD73862E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2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ADULTS MITS  (N= 300)</a:t>
            </a:r>
            <a:endParaRPr lang="en-SL" sz="2400" b="1" i="0" u="none" strike="noStrike" kern="1200" spc="0" baseline="0" dirty="0">
              <a:solidFill>
                <a:sysClr val="windowText" lastClr="000000">
                  <a:lumMod val="65000"/>
                  <a:lumOff val="35000"/>
                </a:sys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SL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9AF-4611-A104-E2F228F95E4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AF-4611-A104-E2F228F95E4E}"/>
              </c:ext>
            </c:extLst>
          </c:dPt>
          <c:dLbls>
            <c:dLbl>
              <c:idx val="1"/>
              <c:layout>
                <c:manualLayout>
                  <c:x val="0.33898305084745745"/>
                  <c:y val="-0.2144807494238855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9AF-4611-A104-E2F228F95E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alariaInCausalChain!$K$2:$K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MalariaInCausalChain!$N$2:$N$3</c:f>
              <c:numCache>
                <c:formatCode>0%</c:formatCode>
                <c:ptCount val="2"/>
                <c:pt idx="0">
                  <c:v>0.01</c:v>
                </c:pt>
                <c:pt idx="1">
                  <c:v>0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9AF-4611-A104-E2F228F95E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baseline="0" dirty="0"/>
              <a:t>(N=622)</a:t>
            </a:r>
            <a:endParaRPr lang="en-SL" sz="24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SL"/>
        </a:p>
      </c:txPr>
    </c:title>
    <c:autoTitleDeleted val="0"/>
    <c:plotArea>
      <c:layout/>
      <c:pieChart>
        <c:varyColors val="1"/>
        <c:ser>
          <c:idx val="0"/>
          <c:order val="0"/>
          <c:explosion val="4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215-45E3-AB5C-F43DE812E86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215-45E3-AB5C-F43DE812E866}"/>
              </c:ext>
            </c:extLst>
          </c:dPt>
          <c:dLbls>
            <c:dLbl>
              <c:idx val="0"/>
              <c:layout>
                <c:manualLayout>
                  <c:x val="5.0651361277995119E-2"/>
                  <c:y val="2.382697985421556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215-45E3-AB5C-F43DE812E866}"/>
                </c:ext>
              </c:extLst>
            </c:dLbl>
            <c:dLbl>
              <c:idx val="1"/>
              <c:layout>
                <c:manualLayout>
                  <c:x val="-0.15195408383398543"/>
                  <c:y val="-7.412838176867077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215-45E3-AB5C-F43DE812E8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BOTH SITES'!$S$3:$S$4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'BOTH SITES'!$V$3:$V$4</c:f>
              <c:numCache>
                <c:formatCode>0.0%</c:formatCode>
                <c:ptCount val="2"/>
                <c:pt idx="0">
                  <c:v>1.6051364365971106E-2</c:v>
                </c:pt>
                <c:pt idx="1">
                  <c:v>0.98394863563402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215-45E3-AB5C-F43DE812E86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2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DULTS MIT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189420958515693"/>
          <c:y val="8.5234220713680073E-2"/>
          <c:w val="0.81909700747883307"/>
          <c:h val="0.861455283984992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MonthlyMetricsTracker-All'!$B$2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5A-45A0-BB03-E512E93D1C3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A5A-45A0-BB03-E512E93D1C34}"/>
              </c:ext>
            </c:extLst>
          </c:dPt>
          <c:dPt>
            <c:idx val="3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A5A-45A0-BB03-E512E93D1C34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="1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95 , (32</a:t>
                    </a:r>
                    <a:r>
                      <a:rPr lang="en-US" sz="1100" b="1"/>
                      <a:t>% of MITS performed)</a:t>
                    </a:r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4A5A-45A0-BB03-E512E93D1C3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B535684-C374-4248-8857-CE5858ADE8D9}" type="VALUE">
                      <a:rPr lang="en-US" sz="10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pPr/>
                      <a:t>[VALUE]</a:t>
                    </a:fld>
                    <a:r>
                      <a:rPr lang="en-US" sz="10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, (</a:t>
                    </a:r>
                    <a:r>
                      <a:rPr lang="en-US"/>
                      <a:t>99% of total consented)</a:t>
                    </a:r>
                    <a:r>
                      <a:rPr lang="en-US" baseline="0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4A5A-45A0-BB03-E512E93D1C3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05CB4C9-17F3-8C4B-AD6D-A21AF77B69A2}" type="VALUE">
                      <a:rPr lang="en-US" sz="1100" baseline="0"/>
                      <a:pPr/>
                      <a:t>[VALUE]</a:t>
                    </a:fld>
                    <a:r>
                      <a:rPr lang="en-US" sz="1100" baseline="0"/>
                      <a:t>, (</a:t>
                    </a:r>
                    <a:r>
                      <a:rPr lang="en-US" sz="11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65% of total eligible)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A5A-45A0-BB03-E512E93D1C34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43C3E24-F24C-F745-A309-E148BE8CFAFD}" type="VALUE">
                      <a:rPr lang="en-US" sz="1100" b="1" i="0" u="none" strike="noStrike" kern="1200" baseline="0" smtClean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A5A-45A0-BB03-E512E93D1C34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onthlyMetricsTracker-All'!$A$22:$A$28</c:f>
              <c:strCache>
                <c:ptCount val="4"/>
                <c:pt idx="0">
                  <c:v>Malaria Positive </c:v>
                </c:pt>
                <c:pt idx="1">
                  <c:v>MITSPerformed</c:v>
                </c:pt>
                <c:pt idx="2">
                  <c:v>MITSConsented</c:v>
                </c:pt>
                <c:pt idx="3">
                  <c:v>MITSEligible</c:v>
                </c:pt>
              </c:strCache>
            </c:strRef>
          </c:cat>
          <c:val>
            <c:numRef>
              <c:f>'MonthlyMetricsTracker-All'!$B$22:$B$28</c:f>
              <c:numCache>
                <c:formatCode>0</c:formatCode>
                <c:ptCount val="4"/>
                <c:pt idx="0">
                  <c:v>95</c:v>
                </c:pt>
                <c:pt idx="1">
                  <c:v>300</c:v>
                </c:pt>
                <c:pt idx="2">
                  <c:v>302</c:v>
                </c:pt>
                <c:pt idx="3">
                  <c:v>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A5A-45A0-BB03-E512E93D1C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74667200"/>
        <c:axId val="774764000"/>
      </c:barChart>
      <c:catAx>
        <c:axId val="774667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764000"/>
        <c:crosses val="autoZero"/>
        <c:auto val="1"/>
        <c:lblAlgn val="ctr"/>
        <c:lblOffset val="100"/>
        <c:noMultiLvlLbl val="0"/>
      </c:catAx>
      <c:valAx>
        <c:axId val="774764000"/>
        <c:scaling>
          <c:orientation val="minMax"/>
          <c:max val="6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66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CHILD MIT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732441716844218"/>
          <c:y val="8.2312154367466764E-2"/>
          <c:w val="0.81909700747883307"/>
          <c:h val="0.861455283984992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MonthlyMetricsTracker-Child'!$B$2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D3-4228-B577-19FB23714F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D3-4228-B577-19FB23714F51}"/>
              </c:ext>
            </c:extLst>
          </c:dPt>
          <c:dPt>
            <c:idx val="3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8D3-4228-B577-19FB23714F51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="1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302 , (</a:t>
                    </a:r>
                    <a:r>
                      <a:rPr lang="en-US" sz="1100" b="1"/>
                      <a:t>25% of MITS performed)</a:t>
                    </a:r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18D3-4228-B577-19FB23714F5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0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1214, (</a:t>
                    </a:r>
                    <a:r>
                      <a:rPr lang="en-US"/>
                      <a:t>98% of total consented)</a:t>
                    </a:r>
                    <a:r>
                      <a:rPr lang="en-US" baseline="0"/>
                      <a:t> 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18D3-4228-B577-19FB23714F5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100" baseline="0"/>
                      <a:t>1236, (</a:t>
                    </a:r>
                    <a:r>
                      <a:rPr lang="en-US" sz="11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81% of total eligible)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18D3-4228-B577-19FB23714F51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="1" i="0" u="none" strike="noStrike" kern="1200" baseline="0" dirty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1528</a:t>
                    </a:r>
                    <a:r>
                      <a:rPr lang="en-US" sz="1100" b="1" baseline="0" dirty="0"/>
                      <a:t> </a:t>
                    </a:r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18D3-4228-B577-19FB23714F51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onthlyMetricsTracker-Child'!$A$22:$A$26</c:f>
              <c:strCache>
                <c:ptCount val="4"/>
                <c:pt idx="0">
                  <c:v>Malaria Positive </c:v>
                </c:pt>
                <c:pt idx="1">
                  <c:v>MITSPerformed</c:v>
                </c:pt>
                <c:pt idx="2">
                  <c:v>MITSConsented</c:v>
                </c:pt>
                <c:pt idx="3">
                  <c:v>MITSEligible</c:v>
                </c:pt>
              </c:strCache>
            </c:strRef>
          </c:cat>
          <c:val>
            <c:numRef>
              <c:f>'MonthlyMetricsTracker-Child'!$B$22:$B$26</c:f>
              <c:numCache>
                <c:formatCode>0</c:formatCode>
                <c:ptCount val="4"/>
                <c:pt idx="0">
                  <c:v>302</c:v>
                </c:pt>
                <c:pt idx="1">
                  <c:v>1214</c:v>
                </c:pt>
                <c:pt idx="2">
                  <c:v>1236</c:v>
                </c:pt>
                <c:pt idx="3">
                  <c:v>1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8D3-4228-B577-19FB23714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74667200"/>
        <c:axId val="774764000"/>
      </c:barChart>
      <c:catAx>
        <c:axId val="774667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764000"/>
        <c:crosses val="autoZero"/>
        <c:auto val="1"/>
        <c:lblAlgn val="ctr"/>
        <c:lblOffset val="100"/>
        <c:noMultiLvlLbl val="0"/>
      </c:catAx>
      <c:valAx>
        <c:axId val="7747640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66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DULTS MIT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189420958515693"/>
          <c:y val="8.5234220713680073E-2"/>
          <c:w val="0.81909700747883307"/>
          <c:h val="0.861455283984992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MonthlyMetricsTracker-All'!$B$2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5A-45A0-BB03-E512E93D1C3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A5A-45A0-BB03-E512E93D1C34}"/>
              </c:ext>
            </c:extLst>
          </c:dPt>
          <c:dPt>
            <c:idx val="3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A5A-45A0-BB03-E512E93D1C34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="1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95 , (32</a:t>
                    </a:r>
                    <a:r>
                      <a:rPr lang="en-US" sz="1100" b="1"/>
                      <a:t>% of MITS performed)</a:t>
                    </a:r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4A5A-45A0-BB03-E512E93D1C3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B535684-C374-4248-8857-CE5858ADE8D9}" type="VALUE">
                      <a:rPr lang="en-US" sz="10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pPr/>
                      <a:t>[VALUE]</a:t>
                    </a:fld>
                    <a:r>
                      <a:rPr lang="en-US" sz="10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, (</a:t>
                    </a:r>
                    <a:r>
                      <a:rPr lang="en-US"/>
                      <a:t>99% of total consented)</a:t>
                    </a:r>
                    <a:r>
                      <a:rPr lang="en-US" baseline="0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4A5A-45A0-BB03-E512E93D1C3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05CB4C9-17F3-8C4B-AD6D-A21AF77B69A2}" type="VALUE">
                      <a:rPr lang="en-US" sz="1100" baseline="0"/>
                      <a:pPr/>
                      <a:t>[VALUE]</a:t>
                    </a:fld>
                    <a:r>
                      <a:rPr lang="en-US" sz="1100" baseline="0"/>
                      <a:t>, (</a:t>
                    </a:r>
                    <a:r>
                      <a:rPr lang="en-US" sz="11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65% of total eligible)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A5A-45A0-BB03-E512E93D1C34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43C3E24-F24C-F745-A309-E148BE8CFAFD}" type="VALUE">
                      <a:rPr lang="en-US" sz="1100" b="1" i="0" u="none" strike="noStrike" kern="1200" baseline="0" smtClean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A5A-45A0-BB03-E512E93D1C34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onthlyMetricsTracker-All'!$A$22:$A$28</c:f>
              <c:strCache>
                <c:ptCount val="4"/>
                <c:pt idx="0">
                  <c:v>Malaria Positive </c:v>
                </c:pt>
                <c:pt idx="1">
                  <c:v>MITSPerformed</c:v>
                </c:pt>
                <c:pt idx="2">
                  <c:v>MITSConsented</c:v>
                </c:pt>
                <c:pt idx="3">
                  <c:v>MITSEligible</c:v>
                </c:pt>
              </c:strCache>
            </c:strRef>
          </c:cat>
          <c:val>
            <c:numRef>
              <c:f>'MonthlyMetricsTracker-All'!$B$22:$B$28</c:f>
              <c:numCache>
                <c:formatCode>0</c:formatCode>
                <c:ptCount val="4"/>
                <c:pt idx="0">
                  <c:v>95</c:v>
                </c:pt>
                <c:pt idx="1">
                  <c:v>300</c:v>
                </c:pt>
                <c:pt idx="2">
                  <c:v>302</c:v>
                </c:pt>
                <c:pt idx="3">
                  <c:v>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A5A-45A0-BB03-E512E93D1C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74667200"/>
        <c:axId val="774764000"/>
      </c:barChart>
      <c:catAx>
        <c:axId val="774667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764000"/>
        <c:crosses val="autoZero"/>
        <c:auto val="1"/>
        <c:lblAlgn val="ctr"/>
        <c:lblOffset val="100"/>
        <c:noMultiLvlLbl val="0"/>
      </c:catAx>
      <c:valAx>
        <c:axId val="774764000"/>
        <c:scaling>
          <c:orientation val="minMax"/>
          <c:max val="6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66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CHILD MIT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732441716844218"/>
          <c:y val="8.2312154367466764E-2"/>
          <c:w val="0.81909700747883307"/>
          <c:h val="0.861455283984992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MonthlyMetricsTracker-Child'!$B$2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D3-4228-B577-19FB23714F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D3-4228-B577-19FB23714F51}"/>
              </c:ext>
            </c:extLst>
          </c:dPt>
          <c:dPt>
            <c:idx val="3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8D3-4228-B577-19FB23714F51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="1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302 , (</a:t>
                    </a:r>
                    <a:r>
                      <a:rPr lang="en-US" sz="1100" b="1"/>
                      <a:t>25% of MITS performed)</a:t>
                    </a:r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18D3-4228-B577-19FB23714F5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0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1214, (</a:t>
                    </a:r>
                    <a:r>
                      <a:rPr lang="en-US"/>
                      <a:t>98% of total consented)</a:t>
                    </a:r>
                    <a:r>
                      <a:rPr lang="en-US" baseline="0"/>
                      <a:t> 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18D3-4228-B577-19FB23714F5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100" baseline="0"/>
                      <a:t>1236, (</a:t>
                    </a:r>
                    <a:r>
                      <a:rPr lang="en-US" sz="110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81% of total eligible)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18D3-4228-B577-19FB23714F51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="1" i="0" u="none" strike="noStrike" kern="1200" baseline="0" dirty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</a:rPr>
                      <a:t>1528</a:t>
                    </a:r>
                    <a:r>
                      <a:rPr lang="en-US" sz="1100" b="1" baseline="0" dirty="0"/>
                      <a:t> </a:t>
                    </a:r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18D3-4228-B577-19FB23714F51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onthlyMetricsTracker-Child'!$A$22:$A$26</c:f>
              <c:strCache>
                <c:ptCount val="4"/>
                <c:pt idx="0">
                  <c:v>Malaria Positive </c:v>
                </c:pt>
                <c:pt idx="1">
                  <c:v>MITSPerformed</c:v>
                </c:pt>
                <c:pt idx="2">
                  <c:v>MITSConsented</c:v>
                </c:pt>
                <c:pt idx="3">
                  <c:v>MITSEligible</c:v>
                </c:pt>
              </c:strCache>
            </c:strRef>
          </c:cat>
          <c:val>
            <c:numRef>
              <c:f>'MonthlyMetricsTracker-Child'!$B$22:$B$26</c:f>
              <c:numCache>
                <c:formatCode>0</c:formatCode>
                <c:ptCount val="4"/>
                <c:pt idx="0">
                  <c:v>302</c:v>
                </c:pt>
                <c:pt idx="1">
                  <c:v>1214</c:v>
                </c:pt>
                <c:pt idx="2">
                  <c:v>1236</c:v>
                </c:pt>
                <c:pt idx="3">
                  <c:v>1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8D3-4228-B577-19FB23714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74667200"/>
        <c:axId val="774764000"/>
      </c:barChart>
      <c:catAx>
        <c:axId val="774667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764000"/>
        <c:crosses val="autoZero"/>
        <c:auto val="1"/>
        <c:lblAlgn val="ctr"/>
        <c:lblOffset val="100"/>
        <c:noMultiLvlLbl val="0"/>
      </c:catAx>
      <c:valAx>
        <c:axId val="7747640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66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 dirty="0"/>
              <a:t>CHILD</a:t>
            </a:r>
            <a:r>
              <a:rPr lang="en-US" sz="2800" b="1" baseline="0" dirty="0"/>
              <a:t> MITS</a:t>
            </a:r>
            <a:r>
              <a:rPr lang="en-US" sz="2800" b="1" dirty="0"/>
              <a:t> (N= 302)</a:t>
            </a:r>
            <a:endParaRPr lang="en-SL" sz="28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SL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73B-4153-ADCA-5245120AC46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73B-4153-ADCA-5245120AC4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alariaPositiveandInCausalChain!$B$4:$B$5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MalariaPositiveandInCausalChain!$G$4:$G$5</c:f>
              <c:numCache>
                <c:formatCode>0%</c:formatCode>
                <c:ptCount val="2"/>
                <c:pt idx="0">
                  <c:v>0.62251655629139069</c:v>
                </c:pt>
                <c:pt idx="1">
                  <c:v>0.37748344370860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3B-4153-ADCA-5245120AC46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ADULTS MITS (N= 95)</a:t>
            </a:r>
            <a:endParaRPr lang="en-SL" sz="2400" b="1" i="0" u="none" strike="noStrike" kern="1200" spc="0" baseline="0" dirty="0">
              <a:solidFill>
                <a:sysClr val="windowText" lastClr="000000">
                  <a:lumMod val="65000"/>
                  <a:lumOff val="35000"/>
                </a:sys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SL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ECE-41B5-9E1B-65E878FF3C8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ECE-41B5-9E1B-65E878FF3C86}"/>
              </c:ext>
            </c:extLst>
          </c:dPt>
          <c:dLbls>
            <c:dLbl>
              <c:idx val="1"/>
              <c:layout>
                <c:manualLayout>
                  <c:x val="0.26887661141804786"/>
                  <c:y val="-0.238897454244481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ECE-41B5-9E1B-65E878FF3C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alariaPositiveandInCausalChain!$M$4:$M$5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MalariaPositiveandInCausalChain!$R$4:$R$5</c:f>
              <c:numCache>
                <c:formatCode>0%</c:formatCode>
                <c:ptCount val="2"/>
                <c:pt idx="0">
                  <c:v>3.1578947368421054E-2</c:v>
                </c:pt>
                <c:pt idx="1">
                  <c:v>0.968421052631578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CE-41B5-9E1B-65E878FF3C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/>
              <a:t>CHILD</a:t>
            </a:r>
            <a:r>
              <a:rPr lang="en-US" sz="2400" b="1" baseline="0" dirty="0"/>
              <a:t> MITS (</a:t>
            </a:r>
            <a:r>
              <a:rPr lang="en-US" sz="2400" b="1" dirty="0"/>
              <a:t>N= 1130)</a:t>
            </a:r>
            <a:endParaRPr lang="en-SL" sz="24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SL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C2-47C8-B865-9F07B3839FD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C2-47C8-B865-9F07B3839FDA}"/>
              </c:ext>
            </c:extLst>
          </c:dPt>
          <c:dLbls>
            <c:dLbl>
              <c:idx val="1"/>
              <c:layout>
                <c:manualLayout>
                  <c:x val="-0.10729023383768914"/>
                  <c:y val="-0.1758429030807576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FC2-47C8-B865-9F07B3839F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alariaInCausalChain!$B$2:$B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MalariaInCausalChain!$E$2:$E$3</c:f>
              <c:numCache>
                <c:formatCode>0%</c:formatCode>
                <c:ptCount val="2"/>
                <c:pt idx="0">
                  <c:v>0.18230088495575222</c:v>
                </c:pt>
                <c:pt idx="1">
                  <c:v>0.817699115044247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C2-47C8-B865-9F07B3839F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064</cdr:x>
      <cdr:y>0.73221</cdr:y>
    </cdr:from>
    <cdr:to>
      <cdr:x>0.54051</cdr:x>
      <cdr:y>0.93012</cdr:y>
    </cdr:to>
    <cdr:sp macro="" textlink="">
      <cdr:nvSpPr>
        <cdr:cNvPr id="2" name="Arc 5">
          <a:extLst xmlns:a="http://schemas.openxmlformats.org/drawingml/2006/main">
            <a:ext uri="{FF2B5EF4-FFF2-40B4-BE49-F238E27FC236}">
              <a16:creationId xmlns:a16="http://schemas.microsoft.com/office/drawing/2014/main" id="{C82C6C6A-1BF2-B8B5-F2F9-18F8E2C5A97B}"/>
            </a:ext>
          </a:extLst>
        </cdr:cNvPr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780534" y="3009419"/>
          <a:ext cx="2020186" cy="813391"/>
        </a:xfrm>
        <a:custGeom xmlns:a="http://schemas.openxmlformats.org/drawingml/2006/main">
          <a:avLst/>
          <a:gdLst>
            <a:gd name="connsiteX0" fmla="*/ 2419039 w 4838078"/>
            <a:gd name="connsiteY0" fmla="*/ 0 h 2690668"/>
            <a:gd name="connsiteX1" fmla="*/ 4836775 w 4838078"/>
            <a:gd name="connsiteY1" fmla="*/ 1301181 h 2690668"/>
            <a:gd name="connsiteX2" fmla="*/ 2468182 w 4838078"/>
            <a:gd name="connsiteY2" fmla="*/ 2690390 h 2690668"/>
            <a:gd name="connsiteX3" fmla="*/ 11673 w 4838078"/>
            <a:gd name="connsiteY3" fmla="*/ 1477341 h 2690668"/>
            <a:gd name="connsiteX4" fmla="*/ 2320681 w 4838078"/>
            <a:gd name="connsiteY4" fmla="*/ 1111 h 2690668"/>
            <a:gd name="connsiteX5" fmla="*/ 2419039 w 4838078"/>
            <a:gd name="connsiteY5" fmla="*/ 1345334 h 2690668"/>
            <a:gd name="connsiteX6" fmla="*/ 2419039 w 4838078"/>
            <a:gd name="connsiteY6" fmla="*/ 0 h 2690668"/>
            <a:gd name="connsiteX0" fmla="*/ 2419039 w 4838078"/>
            <a:gd name="connsiteY0" fmla="*/ 0 h 2690668"/>
            <a:gd name="connsiteX1" fmla="*/ 4836775 w 4838078"/>
            <a:gd name="connsiteY1" fmla="*/ 1301181 h 2690668"/>
            <a:gd name="connsiteX2" fmla="*/ 2468182 w 4838078"/>
            <a:gd name="connsiteY2" fmla="*/ 2690390 h 2690668"/>
            <a:gd name="connsiteX3" fmla="*/ 11673 w 4838078"/>
            <a:gd name="connsiteY3" fmla="*/ 1477341 h 2690668"/>
            <a:gd name="connsiteX4" fmla="*/ 2320681 w 4838078"/>
            <a:gd name="connsiteY4" fmla="*/ 1111 h 2690668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4838078" h="2690668" stroke="0" extrusionOk="0">
              <a:moveTo>
                <a:pt x="2419039" y="0"/>
              </a:moveTo>
              <a:cubicBezTo>
                <a:pt x="3646059" y="-48157"/>
                <a:pt x="4686538" y="616064"/>
                <a:pt x="4836775" y="1301181"/>
              </a:cubicBezTo>
              <a:cubicBezTo>
                <a:pt x="4972678" y="2069663"/>
                <a:pt x="3741086" y="2677536"/>
                <a:pt x="2468182" y="2690390"/>
              </a:cubicBezTo>
              <a:cubicBezTo>
                <a:pt x="1116347" y="2791737"/>
                <a:pt x="125915" y="2229825"/>
                <a:pt x="11673" y="1477341"/>
              </a:cubicBezTo>
              <a:cubicBezTo>
                <a:pt x="-255241" y="636243"/>
                <a:pt x="1051422" y="90061"/>
                <a:pt x="2320681" y="1111"/>
              </a:cubicBezTo>
              <a:cubicBezTo>
                <a:pt x="2444288" y="532799"/>
                <a:pt x="2478530" y="722508"/>
                <a:pt x="2419039" y="1345334"/>
              </a:cubicBezTo>
              <a:cubicBezTo>
                <a:pt x="2485613" y="861870"/>
                <a:pt x="2493654" y="427306"/>
                <a:pt x="2419039" y="0"/>
              </a:cubicBezTo>
              <a:close/>
            </a:path>
            <a:path w="4838078" h="2690668" fill="none" extrusionOk="0">
              <a:moveTo>
                <a:pt x="2419039" y="0"/>
              </a:moveTo>
              <a:cubicBezTo>
                <a:pt x="3783129" y="90875"/>
                <a:pt x="4879416" y="680451"/>
                <a:pt x="4836775" y="1301181"/>
              </a:cubicBezTo>
              <a:cubicBezTo>
                <a:pt x="5050645" y="1901841"/>
                <a:pt x="3861042" y="2462044"/>
                <a:pt x="2468182" y="2690390"/>
              </a:cubicBezTo>
              <a:cubicBezTo>
                <a:pt x="1084746" y="2724491"/>
                <a:pt x="33362" y="2105782"/>
                <a:pt x="11673" y="1477341"/>
              </a:cubicBezTo>
              <a:cubicBezTo>
                <a:pt x="-230255" y="700129"/>
                <a:pt x="894742" y="-41508"/>
                <a:pt x="2320681" y="1111"/>
              </a:cubicBezTo>
            </a:path>
            <a:path w="4838078" h="2690668" fill="none" stroke="0" extrusionOk="0">
              <a:moveTo>
                <a:pt x="2419039" y="0"/>
              </a:moveTo>
              <a:cubicBezTo>
                <a:pt x="3714935" y="-87701"/>
                <a:pt x="4764533" y="616625"/>
                <a:pt x="4836775" y="1301181"/>
              </a:cubicBezTo>
              <a:cubicBezTo>
                <a:pt x="4907552" y="2065224"/>
                <a:pt x="3904387" y="2696477"/>
                <a:pt x="2468182" y="2690390"/>
              </a:cubicBezTo>
              <a:cubicBezTo>
                <a:pt x="1151916" y="2695990"/>
                <a:pt x="233932" y="2256742"/>
                <a:pt x="11673" y="1477341"/>
              </a:cubicBezTo>
              <a:cubicBezTo>
                <a:pt x="-63884" y="798283"/>
                <a:pt x="938502" y="109450"/>
                <a:pt x="2320681" y="1111"/>
              </a:cubicBezTo>
            </a:path>
          </a:pathLst>
        </a:custGeom>
        <a:ln xmlns:a="http://schemas.openxmlformats.org/drawingml/2006/main" w="28575" cap="rnd">
          <a:solidFill>
            <a:srgbClr val="FF0000">
              <a:alpha val="63000"/>
            </a:srgbClr>
          </a:solidFill>
          <a:miter lim="800000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anchor="ctr">
          <a:normAutofit/>
        </a:bodyPr>
        <a:lstStyle xmlns:a="http://schemas.openxmlformats.org/drawingml/2006/main">
          <a:lvl1pPr marL="0" indent="0" algn="l" defTabSz="914400" rtl="0" eaLnBrk="1" latinLnBrk="0" hangingPunct="1">
            <a:lnSpc>
              <a:spcPct val="90000"/>
            </a:lnSpc>
            <a:spcBef>
              <a:spcPts val="1000"/>
            </a:spcBef>
            <a:buFontTx/>
            <a:buNone/>
            <a:defRPr sz="1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SL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60DED8-256B-459F-BEF0-5FBB2C7B9B48}" type="datetimeFigureOut">
              <a:rPr lang="en-US" smtClean="0"/>
              <a:t>8/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02F983-FCA9-4ED4-A64B-923BA18158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87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2F983-FCA9-4ED4-A64B-923BA18158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588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12C21D-B977-771B-964C-374DFAE49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358975-D150-634A-8FCE-774723B58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BC566C-BF51-26C2-4675-3BD6665792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ly 3 cases had malaria in causal chai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D0B65-61C1-27E6-99E1-F519D521D7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003B18-DD35-BD43-95D3-16BD3F32DC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301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477646-B59F-4B09-EA0E-62C29DEBF5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125EE9-9F13-F752-0BE1-23F9ADE153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252682-0971-3BD9-8944-48002011ED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AAA6D-D14B-F083-ADA3-8ADFBCF5D6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2F983-FCA9-4ED4-A64B-923BA18158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390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02F983-FCA9-4ED4-A64B-923BA18158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8264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7.sv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E1600BE-4924-CA2A-6B3D-EAFD960233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0186"/>
          <a:stretch/>
        </p:blipFill>
        <p:spPr>
          <a:xfrm>
            <a:off x="0" y="2755900"/>
            <a:ext cx="12192000" cy="410210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7B8B5A7C-13E1-72B9-9362-EF1C832766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97379" y="-4558421"/>
            <a:ext cx="6172200" cy="61849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C70F36A0-1991-A782-07BB-30FF51426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394" y="3277130"/>
            <a:ext cx="6889201" cy="1251857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0987F4C-651B-E1D9-E1E5-F927B31881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3394" y="4862552"/>
            <a:ext cx="3932237" cy="11714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2CC67BD-478B-35E8-635B-1B0310A4FA7D}"/>
              </a:ext>
            </a:extLst>
          </p:cNvPr>
          <p:cNvCxnSpPr>
            <a:cxnSpLocks/>
          </p:cNvCxnSpPr>
          <p:nvPr userDrawn="1"/>
        </p:nvCxnSpPr>
        <p:spPr>
          <a:xfrm>
            <a:off x="1158188" y="4645099"/>
            <a:ext cx="672954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6E470A85-BA1C-1757-3DDA-67B88502AE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86" y="1298403"/>
            <a:ext cx="9165771" cy="132328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95CD43E-0A67-9435-5917-0C4BDC8F54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120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5C7F960-893A-088C-B1EF-E1C5018B64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-1160846" y="508000"/>
            <a:ext cx="7637108" cy="748130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71AC99-C5A6-4183-3D1D-E9936879E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7111" y="3939989"/>
            <a:ext cx="3817620" cy="14522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74609A-7CCF-BBAE-B46F-E4F1CDFC22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A466F88-742C-0B4C-B2AC-2070F98013C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7596767" y="-2159966"/>
            <a:ext cx="5211187" cy="510487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1558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094023D-24C3-97CA-3BD0-255FD4D213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6549" y="-104668"/>
            <a:ext cx="2813976" cy="18256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922C3E3-DAF9-D6B2-C039-7825900189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11729" y="5937678"/>
            <a:ext cx="2057400" cy="633613"/>
          </a:xfrm>
          <a:prstGeom prst="rect">
            <a:avLst/>
          </a:prstGeom>
        </p:spPr>
      </p:pic>
      <p:pic>
        <p:nvPicPr>
          <p:cNvPr id="5" name="Picture Placeholder 14">
            <a:extLst>
              <a:ext uri="{FF2B5EF4-FFF2-40B4-BE49-F238E27FC236}">
                <a16:creationId xmlns:a16="http://schemas.microsoft.com/office/drawing/2014/main" id="{480A121C-6395-7A3B-360D-F5ED38D5F9B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9332"/>
                    </a14:imgEffect>
                    <a14:imgEffect>
                      <a14:saturation sat="46000"/>
                    </a14:imgEffect>
                  </a14:imgLayer>
                </a14:imgProps>
              </a:ext>
            </a:extLst>
          </a:blip>
          <a:srcRect t="6769" r="13360" b="20129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F6F3D6"/>
              </a:gs>
              <a:gs pos="35000">
                <a:srgbClr val="C8D4B2"/>
              </a:gs>
            </a:gsLst>
            <a:path path="circle">
              <a:fillToRect l="100000" t="100000"/>
            </a:path>
          </a:gradFill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7DD7890-0DAF-AC62-2EDA-BF7B9774C99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34938" y="-48185"/>
            <a:ext cx="4375587" cy="283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135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Rectangle 241">
            <a:extLst>
              <a:ext uri="{FF2B5EF4-FFF2-40B4-BE49-F238E27FC236}">
                <a16:creationId xmlns:a16="http://schemas.microsoft.com/office/drawing/2014/main" id="{EA5CA4E7-9458-AD09-1BB2-8C43C2D469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23BB70-CF0C-509F-AB09-866B0E5930F0}"/>
              </a:ext>
            </a:extLst>
          </p:cNvPr>
          <p:cNvSpPr txBox="1"/>
          <p:nvPr userDrawn="1"/>
        </p:nvSpPr>
        <p:spPr>
          <a:xfrm>
            <a:off x="8755102" y="6363366"/>
            <a:ext cx="3211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4C9C2E"/>
                </a:solidFill>
                <a:latin typeface="Lato" panose="020F0502020204030203" pitchFamily="34" charset="0"/>
              </a:rPr>
              <a:t>2025 Network Mee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020569-AD56-521A-9A20-D65374A93E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5" y="6233150"/>
            <a:ext cx="3246958" cy="468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3634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Rectangle 241">
            <a:extLst>
              <a:ext uri="{FF2B5EF4-FFF2-40B4-BE49-F238E27FC236}">
                <a16:creationId xmlns:a16="http://schemas.microsoft.com/office/drawing/2014/main" id="{EA5CA4E7-9458-AD09-1BB2-8C43C2D469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4935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Rectangle 241">
            <a:extLst>
              <a:ext uri="{FF2B5EF4-FFF2-40B4-BE49-F238E27FC236}">
                <a16:creationId xmlns:a16="http://schemas.microsoft.com/office/drawing/2014/main" id="{EA5CA4E7-9458-AD09-1BB2-8C43C2D469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3999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68A373E-3410-B1C9-A575-2C61F584F3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A4DBB366-819A-0029-A67A-2916E63BB6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5925" y="4268446"/>
            <a:ext cx="6172200" cy="61849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405FDAA-C8AD-B8A2-89FE-9F9A38AC924D}"/>
              </a:ext>
            </a:extLst>
          </p:cNvPr>
          <p:cNvSpPr txBox="1"/>
          <p:nvPr userDrawn="1"/>
        </p:nvSpPr>
        <p:spPr>
          <a:xfrm>
            <a:off x="8671651" y="5838403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</a:p>
        </p:txBody>
      </p:sp>
      <p:sp>
        <p:nvSpPr>
          <p:cNvPr id="6" name="Picture Placeholder 22">
            <a:extLst>
              <a:ext uri="{FF2B5EF4-FFF2-40B4-BE49-F238E27FC236}">
                <a16:creationId xmlns:a16="http://schemas.microsoft.com/office/drawing/2014/main" id="{8950586D-1A17-381F-D630-406B4DEE582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875249" y="-1062463"/>
            <a:ext cx="6626101" cy="66434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8A017832-3167-692B-EEBE-E0D1389B5C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10274" y="2313294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74F8C4-DDEC-7F2F-A540-EDD574D2C756}"/>
              </a:ext>
            </a:extLst>
          </p:cNvPr>
          <p:cNvSpPr txBox="1"/>
          <p:nvPr userDrawn="1"/>
        </p:nvSpPr>
        <p:spPr>
          <a:xfrm>
            <a:off x="678525" y="5975451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info@champshealth.org </a:t>
            </a:r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591EA897-7DC4-AFB4-E0AF-74EC31F192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41149" y="-2722157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427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68A373E-3410-B1C9-A575-2C61F584F3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591EA897-7DC4-AFB4-E0AF-74EC31F192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41149" y="-2722157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128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68A373E-3410-B1C9-A575-2C61F584F3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591EA897-7DC4-AFB4-E0AF-74EC31F192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41149" y="-2722157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356446A8-664C-C036-99A4-2E36D0450D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9330" y="-2659093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4019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4326365" y="0"/>
            <a:ext cx="7865745" cy="6858000"/>
          </a:xfrm>
          <a:custGeom>
            <a:avLst/>
            <a:gdLst/>
            <a:ahLst/>
            <a:cxnLst/>
            <a:rect l="l" t="t" r="r" b="b"/>
            <a:pathLst>
              <a:path w="10487660" h="9144000">
                <a:moveTo>
                  <a:pt x="10487520" y="0"/>
                </a:moveTo>
                <a:lnTo>
                  <a:pt x="1668068" y="0"/>
                </a:lnTo>
                <a:lnTo>
                  <a:pt x="1636967" y="37162"/>
                </a:lnTo>
                <a:lnTo>
                  <a:pt x="1606116" y="74540"/>
                </a:lnTo>
                <a:lnTo>
                  <a:pt x="1575515" y="112130"/>
                </a:lnTo>
                <a:lnTo>
                  <a:pt x="1545166" y="149933"/>
                </a:lnTo>
                <a:lnTo>
                  <a:pt x="1515071" y="187947"/>
                </a:lnTo>
                <a:lnTo>
                  <a:pt x="1485230" y="226171"/>
                </a:lnTo>
                <a:lnTo>
                  <a:pt x="1455645" y="264603"/>
                </a:lnTo>
                <a:lnTo>
                  <a:pt x="1426317" y="303241"/>
                </a:lnTo>
                <a:lnTo>
                  <a:pt x="1397248" y="342086"/>
                </a:lnTo>
                <a:lnTo>
                  <a:pt x="1368438" y="381135"/>
                </a:lnTo>
                <a:lnTo>
                  <a:pt x="1339889" y="420387"/>
                </a:lnTo>
                <a:lnTo>
                  <a:pt x="1311603" y="459841"/>
                </a:lnTo>
                <a:lnTo>
                  <a:pt x="1283580" y="499496"/>
                </a:lnTo>
                <a:lnTo>
                  <a:pt x="1255822" y="539350"/>
                </a:lnTo>
                <a:lnTo>
                  <a:pt x="1228330" y="579402"/>
                </a:lnTo>
                <a:lnTo>
                  <a:pt x="1201105" y="619651"/>
                </a:lnTo>
                <a:lnTo>
                  <a:pt x="1174149" y="660096"/>
                </a:lnTo>
                <a:lnTo>
                  <a:pt x="1147463" y="700734"/>
                </a:lnTo>
                <a:lnTo>
                  <a:pt x="1121048" y="741566"/>
                </a:lnTo>
                <a:lnTo>
                  <a:pt x="1094906" y="782589"/>
                </a:lnTo>
                <a:lnTo>
                  <a:pt x="1069038" y="823803"/>
                </a:lnTo>
                <a:lnTo>
                  <a:pt x="1043444" y="865206"/>
                </a:lnTo>
                <a:lnTo>
                  <a:pt x="1018127" y="906796"/>
                </a:lnTo>
                <a:lnTo>
                  <a:pt x="993088" y="948573"/>
                </a:lnTo>
                <a:lnTo>
                  <a:pt x="968328" y="990536"/>
                </a:lnTo>
                <a:lnTo>
                  <a:pt x="943847" y="1032682"/>
                </a:lnTo>
                <a:lnTo>
                  <a:pt x="919649" y="1075011"/>
                </a:lnTo>
                <a:lnTo>
                  <a:pt x="895733" y="1117522"/>
                </a:lnTo>
                <a:lnTo>
                  <a:pt x="872101" y="1160212"/>
                </a:lnTo>
                <a:lnTo>
                  <a:pt x="848754" y="1203082"/>
                </a:lnTo>
                <a:lnTo>
                  <a:pt x="825695" y="1246129"/>
                </a:lnTo>
                <a:lnTo>
                  <a:pt x="802923" y="1289352"/>
                </a:lnTo>
                <a:lnTo>
                  <a:pt x="780440" y="1332750"/>
                </a:lnTo>
                <a:lnTo>
                  <a:pt x="758247" y="1376322"/>
                </a:lnTo>
                <a:lnTo>
                  <a:pt x="736347" y="1420067"/>
                </a:lnTo>
                <a:lnTo>
                  <a:pt x="714739" y="1463982"/>
                </a:lnTo>
                <a:lnTo>
                  <a:pt x="693426" y="1508068"/>
                </a:lnTo>
                <a:lnTo>
                  <a:pt x="672408" y="1552322"/>
                </a:lnTo>
                <a:lnTo>
                  <a:pt x="651687" y="1596744"/>
                </a:lnTo>
                <a:lnTo>
                  <a:pt x="631265" y="1641331"/>
                </a:lnTo>
                <a:lnTo>
                  <a:pt x="611141" y="1686083"/>
                </a:lnTo>
                <a:lnTo>
                  <a:pt x="591319" y="1730999"/>
                </a:lnTo>
                <a:lnTo>
                  <a:pt x="571798" y="1776077"/>
                </a:lnTo>
                <a:lnTo>
                  <a:pt x="552581" y="1821316"/>
                </a:lnTo>
                <a:lnTo>
                  <a:pt x="533669" y="1866714"/>
                </a:lnTo>
                <a:lnTo>
                  <a:pt x="515062" y="1912271"/>
                </a:lnTo>
                <a:lnTo>
                  <a:pt x="496762" y="1957985"/>
                </a:lnTo>
                <a:lnTo>
                  <a:pt x="478771" y="2003855"/>
                </a:lnTo>
                <a:lnTo>
                  <a:pt x="461089" y="2049879"/>
                </a:lnTo>
                <a:lnTo>
                  <a:pt x="443718" y="2096057"/>
                </a:lnTo>
                <a:lnTo>
                  <a:pt x="426660" y="2142386"/>
                </a:lnTo>
                <a:lnTo>
                  <a:pt x="409915" y="2188866"/>
                </a:lnTo>
                <a:lnTo>
                  <a:pt x="393485" y="2235496"/>
                </a:lnTo>
                <a:lnTo>
                  <a:pt x="377371" y="2282273"/>
                </a:lnTo>
                <a:lnTo>
                  <a:pt x="361575" y="2329198"/>
                </a:lnTo>
                <a:lnTo>
                  <a:pt x="346097" y="2376268"/>
                </a:lnTo>
                <a:lnTo>
                  <a:pt x="330939" y="2423482"/>
                </a:lnTo>
                <a:lnTo>
                  <a:pt x="316102" y="2470839"/>
                </a:lnTo>
                <a:lnTo>
                  <a:pt x="301588" y="2518338"/>
                </a:lnTo>
                <a:lnTo>
                  <a:pt x="287397" y="2565978"/>
                </a:lnTo>
                <a:lnTo>
                  <a:pt x="273532" y="2613756"/>
                </a:lnTo>
                <a:lnTo>
                  <a:pt x="259993" y="2661673"/>
                </a:lnTo>
                <a:lnTo>
                  <a:pt x="246782" y="2709726"/>
                </a:lnTo>
                <a:lnTo>
                  <a:pt x="233899" y="2757914"/>
                </a:lnTo>
                <a:lnTo>
                  <a:pt x="221347" y="2806236"/>
                </a:lnTo>
                <a:lnTo>
                  <a:pt x="209126" y="2854691"/>
                </a:lnTo>
                <a:lnTo>
                  <a:pt x="197238" y="2903278"/>
                </a:lnTo>
                <a:lnTo>
                  <a:pt x="185684" y="2951995"/>
                </a:lnTo>
                <a:lnTo>
                  <a:pt x="174465" y="3000840"/>
                </a:lnTo>
                <a:lnTo>
                  <a:pt x="163583" y="3049813"/>
                </a:lnTo>
                <a:lnTo>
                  <a:pt x="153039" y="3098913"/>
                </a:lnTo>
                <a:lnTo>
                  <a:pt x="142834" y="3148138"/>
                </a:lnTo>
                <a:lnTo>
                  <a:pt x="132970" y="3197486"/>
                </a:lnTo>
                <a:lnTo>
                  <a:pt x="123447" y="3246957"/>
                </a:lnTo>
                <a:lnTo>
                  <a:pt x="114267" y="3296549"/>
                </a:lnTo>
                <a:lnTo>
                  <a:pt x="105431" y="3346261"/>
                </a:lnTo>
                <a:lnTo>
                  <a:pt x="96941" y="3396092"/>
                </a:lnTo>
                <a:lnTo>
                  <a:pt x="88798" y="3446040"/>
                </a:lnTo>
                <a:lnTo>
                  <a:pt x="81003" y="3496104"/>
                </a:lnTo>
                <a:lnTo>
                  <a:pt x="73558" y="3546283"/>
                </a:lnTo>
                <a:lnTo>
                  <a:pt x="66463" y="3596575"/>
                </a:lnTo>
                <a:lnTo>
                  <a:pt x="59720" y="3646980"/>
                </a:lnTo>
                <a:lnTo>
                  <a:pt x="53331" y="3697496"/>
                </a:lnTo>
                <a:lnTo>
                  <a:pt x="47296" y="3748121"/>
                </a:lnTo>
                <a:lnTo>
                  <a:pt x="41616" y="3798855"/>
                </a:lnTo>
                <a:lnTo>
                  <a:pt x="36294" y="3849696"/>
                </a:lnTo>
                <a:lnTo>
                  <a:pt x="31331" y="3900643"/>
                </a:lnTo>
                <a:lnTo>
                  <a:pt x="26727" y="3951694"/>
                </a:lnTo>
                <a:lnTo>
                  <a:pt x="22484" y="4002849"/>
                </a:lnTo>
                <a:lnTo>
                  <a:pt x="18603" y="4054105"/>
                </a:lnTo>
                <a:lnTo>
                  <a:pt x="15085" y="4105462"/>
                </a:lnTo>
                <a:lnTo>
                  <a:pt x="11933" y="4156919"/>
                </a:lnTo>
                <a:lnTo>
                  <a:pt x="9146" y="4208474"/>
                </a:lnTo>
                <a:lnTo>
                  <a:pt x="6727" y="4260126"/>
                </a:lnTo>
                <a:lnTo>
                  <a:pt x="4677" y="4311873"/>
                </a:lnTo>
                <a:lnTo>
                  <a:pt x="2997" y="4363715"/>
                </a:lnTo>
                <a:lnTo>
                  <a:pt x="1687" y="4415650"/>
                </a:lnTo>
                <a:lnTo>
                  <a:pt x="750" y="4467676"/>
                </a:lnTo>
                <a:lnTo>
                  <a:pt x="187" y="4519793"/>
                </a:lnTo>
                <a:lnTo>
                  <a:pt x="0" y="4572000"/>
                </a:lnTo>
                <a:lnTo>
                  <a:pt x="187" y="4624206"/>
                </a:lnTo>
                <a:lnTo>
                  <a:pt x="750" y="4676323"/>
                </a:lnTo>
                <a:lnTo>
                  <a:pt x="1687" y="4728349"/>
                </a:lnTo>
                <a:lnTo>
                  <a:pt x="2997" y="4780284"/>
                </a:lnTo>
                <a:lnTo>
                  <a:pt x="4677" y="4832126"/>
                </a:lnTo>
                <a:lnTo>
                  <a:pt x="6727" y="4883873"/>
                </a:lnTo>
                <a:lnTo>
                  <a:pt x="9146" y="4935525"/>
                </a:lnTo>
                <a:lnTo>
                  <a:pt x="11933" y="4987080"/>
                </a:lnTo>
                <a:lnTo>
                  <a:pt x="15085" y="5038537"/>
                </a:lnTo>
                <a:lnTo>
                  <a:pt x="18603" y="5089894"/>
                </a:lnTo>
                <a:lnTo>
                  <a:pt x="22484" y="5141150"/>
                </a:lnTo>
                <a:lnTo>
                  <a:pt x="26727" y="5192305"/>
                </a:lnTo>
                <a:lnTo>
                  <a:pt x="31331" y="5243356"/>
                </a:lnTo>
                <a:lnTo>
                  <a:pt x="36294" y="5294303"/>
                </a:lnTo>
                <a:lnTo>
                  <a:pt x="41616" y="5345144"/>
                </a:lnTo>
                <a:lnTo>
                  <a:pt x="47296" y="5395878"/>
                </a:lnTo>
                <a:lnTo>
                  <a:pt x="53331" y="5446503"/>
                </a:lnTo>
                <a:lnTo>
                  <a:pt x="59720" y="5497019"/>
                </a:lnTo>
                <a:lnTo>
                  <a:pt x="66463" y="5547424"/>
                </a:lnTo>
                <a:lnTo>
                  <a:pt x="73558" y="5597716"/>
                </a:lnTo>
                <a:lnTo>
                  <a:pt x="81003" y="5647895"/>
                </a:lnTo>
                <a:lnTo>
                  <a:pt x="88798" y="5697959"/>
                </a:lnTo>
                <a:lnTo>
                  <a:pt x="96941" y="5747907"/>
                </a:lnTo>
                <a:lnTo>
                  <a:pt x="105431" y="5797738"/>
                </a:lnTo>
                <a:lnTo>
                  <a:pt x="114267" y="5847450"/>
                </a:lnTo>
                <a:lnTo>
                  <a:pt x="123447" y="5897042"/>
                </a:lnTo>
                <a:lnTo>
                  <a:pt x="132970" y="5946513"/>
                </a:lnTo>
                <a:lnTo>
                  <a:pt x="142834" y="5995861"/>
                </a:lnTo>
                <a:lnTo>
                  <a:pt x="153039" y="6045086"/>
                </a:lnTo>
                <a:lnTo>
                  <a:pt x="163583" y="6094186"/>
                </a:lnTo>
                <a:lnTo>
                  <a:pt x="174465" y="6143159"/>
                </a:lnTo>
                <a:lnTo>
                  <a:pt x="185684" y="6192004"/>
                </a:lnTo>
                <a:lnTo>
                  <a:pt x="197238" y="6240721"/>
                </a:lnTo>
                <a:lnTo>
                  <a:pt x="209126" y="6289308"/>
                </a:lnTo>
                <a:lnTo>
                  <a:pt x="221347" y="6337763"/>
                </a:lnTo>
                <a:lnTo>
                  <a:pt x="233899" y="6386085"/>
                </a:lnTo>
                <a:lnTo>
                  <a:pt x="246782" y="6434273"/>
                </a:lnTo>
                <a:lnTo>
                  <a:pt x="259993" y="6482326"/>
                </a:lnTo>
                <a:lnTo>
                  <a:pt x="273532" y="6530243"/>
                </a:lnTo>
                <a:lnTo>
                  <a:pt x="287397" y="6578021"/>
                </a:lnTo>
                <a:lnTo>
                  <a:pt x="301588" y="6625661"/>
                </a:lnTo>
                <a:lnTo>
                  <a:pt x="316102" y="6673160"/>
                </a:lnTo>
                <a:lnTo>
                  <a:pt x="330939" y="6720517"/>
                </a:lnTo>
                <a:lnTo>
                  <a:pt x="346097" y="6767731"/>
                </a:lnTo>
                <a:lnTo>
                  <a:pt x="361575" y="6814801"/>
                </a:lnTo>
                <a:lnTo>
                  <a:pt x="377371" y="6861726"/>
                </a:lnTo>
                <a:lnTo>
                  <a:pt x="393485" y="6908503"/>
                </a:lnTo>
                <a:lnTo>
                  <a:pt x="409915" y="6955133"/>
                </a:lnTo>
                <a:lnTo>
                  <a:pt x="426660" y="7001613"/>
                </a:lnTo>
                <a:lnTo>
                  <a:pt x="443718" y="7047942"/>
                </a:lnTo>
                <a:lnTo>
                  <a:pt x="461089" y="7094120"/>
                </a:lnTo>
                <a:lnTo>
                  <a:pt x="478771" y="7140144"/>
                </a:lnTo>
                <a:lnTo>
                  <a:pt x="496762" y="7186014"/>
                </a:lnTo>
                <a:lnTo>
                  <a:pt x="515062" y="7231728"/>
                </a:lnTo>
                <a:lnTo>
                  <a:pt x="533669" y="7277285"/>
                </a:lnTo>
                <a:lnTo>
                  <a:pt x="552581" y="7322683"/>
                </a:lnTo>
                <a:lnTo>
                  <a:pt x="571798" y="7367922"/>
                </a:lnTo>
                <a:lnTo>
                  <a:pt x="591319" y="7413000"/>
                </a:lnTo>
                <a:lnTo>
                  <a:pt x="611141" y="7457916"/>
                </a:lnTo>
                <a:lnTo>
                  <a:pt x="631265" y="7502668"/>
                </a:lnTo>
                <a:lnTo>
                  <a:pt x="651687" y="7547255"/>
                </a:lnTo>
                <a:lnTo>
                  <a:pt x="672408" y="7591677"/>
                </a:lnTo>
                <a:lnTo>
                  <a:pt x="693426" y="7635931"/>
                </a:lnTo>
                <a:lnTo>
                  <a:pt x="714739" y="7680017"/>
                </a:lnTo>
                <a:lnTo>
                  <a:pt x="736347" y="7723932"/>
                </a:lnTo>
                <a:lnTo>
                  <a:pt x="758247" y="7767677"/>
                </a:lnTo>
                <a:lnTo>
                  <a:pt x="780440" y="7811249"/>
                </a:lnTo>
                <a:lnTo>
                  <a:pt x="802923" y="7854647"/>
                </a:lnTo>
                <a:lnTo>
                  <a:pt x="825695" y="7897870"/>
                </a:lnTo>
                <a:lnTo>
                  <a:pt x="848754" y="7940917"/>
                </a:lnTo>
                <a:lnTo>
                  <a:pt x="872101" y="7983787"/>
                </a:lnTo>
                <a:lnTo>
                  <a:pt x="895733" y="8026477"/>
                </a:lnTo>
                <a:lnTo>
                  <a:pt x="919649" y="8068988"/>
                </a:lnTo>
                <a:lnTo>
                  <a:pt x="943847" y="8111317"/>
                </a:lnTo>
                <a:lnTo>
                  <a:pt x="968328" y="8153463"/>
                </a:lnTo>
                <a:lnTo>
                  <a:pt x="993088" y="8195426"/>
                </a:lnTo>
                <a:lnTo>
                  <a:pt x="1018127" y="8237203"/>
                </a:lnTo>
                <a:lnTo>
                  <a:pt x="1043444" y="8278793"/>
                </a:lnTo>
                <a:lnTo>
                  <a:pt x="1069038" y="8320196"/>
                </a:lnTo>
                <a:lnTo>
                  <a:pt x="1094906" y="8361410"/>
                </a:lnTo>
                <a:lnTo>
                  <a:pt x="1121048" y="8402433"/>
                </a:lnTo>
                <a:lnTo>
                  <a:pt x="1147463" y="8443265"/>
                </a:lnTo>
                <a:lnTo>
                  <a:pt x="1174149" y="8483903"/>
                </a:lnTo>
                <a:lnTo>
                  <a:pt x="1201105" y="8524348"/>
                </a:lnTo>
                <a:lnTo>
                  <a:pt x="1228330" y="8564597"/>
                </a:lnTo>
                <a:lnTo>
                  <a:pt x="1255822" y="8604649"/>
                </a:lnTo>
                <a:lnTo>
                  <a:pt x="1283580" y="8644503"/>
                </a:lnTo>
                <a:lnTo>
                  <a:pt x="1311603" y="8684158"/>
                </a:lnTo>
                <a:lnTo>
                  <a:pt x="1339889" y="8723612"/>
                </a:lnTo>
                <a:lnTo>
                  <a:pt x="1368438" y="8762864"/>
                </a:lnTo>
                <a:lnTo>
                  <a:pt x="1397248" y="8801913"/>
                </a:lnTo>
                <a:lnTo>
                  <a:pt x="1426317" y="8840758"/>
                </a:lnTo>
                <a:lnTo>
                  <a:pt x="1455645" y="8879396"/>
                </a:lnTo>
                <a:lnTo>
                  <a:pt x="1485230" y="8917828"/>
                </a:lnTo>
                <a:lnTo>
                  <a:pt x="1515071" y="8956052"/>
                </a:lnTo>
                <a:lnTo>
                  <a:pt x="1545166" y="8994066"/>
                </a:lnTo>
                <a:lnTo>
                  <a:pt x="1575515" y="9031869"/>
                </a:lnTo>
                <a:lnTo>
                  <a:pt x="1606116" y="9069459"/>
                </a:lnTo>
                <a:lnTo>
                  <a:pt x="1636967" y="9106837"/>
                </a:lnTo>
                <a:lnTo>
                  <a:pt x="1668068" y="9144000"/>
                </a:lnTo>
                <a:lnTo>
                  <a:pt x="10487520" y="9144000"/>
                </a:lnTo>
                <a:lnTo>
                  <a:pt x="10487520" y="0"/>
                </a:lnTo>
                <a:close/>
              </a:path>
            </a:pathLst>
          </a:custGeom>
          <a:solidFill>
            <a:srgbClr val="4C9E45">
              <a:alpha val="14999"/>
            </a:srgbClr>
          </a:solidFill>
        </p:spPr>
        <p:txBody>
          <a:bodyPr wrap="square" lIns="0" tIns="0" rIns="0" bIns="0" rtlCol="0"/>
          <a:lstStyle/>
          <a:p>
            <a:endParaRPr sz="1350">
              <a:latin typeface="+mn-lt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0" i="0">
                <a:solidFill>
                  <a:srgbClr val="4C9E45"/>
                </a:solidFill>
                <a:latin typeface="+mj-lt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0805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E1600BE-4924-CA2A-6B3D-EAFD960233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0186"/>
          <a:stretch/>
        </p:blipFill>
        <p:spPr>
          <a:xfrm>
            <a:off x="0" y="2755900"/>
            <a:ext cx="12192000" cy="410210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7B8B5A7C-13E1-72B9-9362-EF1C832766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97379" y="-4558421"/>
            <a:ext cx="6172200" cy="6184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E470A85-BA1C-1757-3DDA-67B88502AE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86" y="1298403"/>
            <a:ext cx="9165771" cy="132328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95CD43E-0A67-9435-5917-0C4BDC8F54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9F6EB9-A1D8-2464-1AC5-D267E476C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394" y="3277130"/>
            <a:ext cx="6889201" cy="1251857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806436A-0941-6789-3D80-C7E45E4C9B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994797" y="5160704"/>
            <a:ext cx="3932237" cy="11714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A49E99D-F596-2A63-E2C2-3C38411C938B}"/>
              </a:ext>
            </a:extLst>
          </p:cNvPr>
          <p:cNvCxnSpPr>
            <a:cxnSpLocks/>
          </p:cNvCxnSpPr>
          <p:nvPr userDrawn="1"/>
        </p:nvCxnSpPr>
        <p:spPr>
          <a:xfrm>
            <a:off x="1158188" y="4645099"/>
            <a:ext cx="672954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21A262C-4830-4F1A-A3EA-5E9DE40FC6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4075" y="4806950"/>
            <a:ext cx="1792288" cy="16113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7327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0F7377B-4E8F-5C3A-E3A6-AF46AB7FF2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8E6FD-B8E6-1FF9-1D78-FE89734F25D5}"/>
              </a:ext>
            </a:extLst>
          </p:cNvPr>
          <p:cNvSpPr txBox="1"/>
          <p:nvPr userDrawn="1"/>
        </p:nvSpPr>
        <p:spPr>
          <a:xfrm>
            <a:off x="8755102" y="6363366"/>
            <a:ext cx="3211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4C9C2E"/>
                </a:solidFill>
                <a:latin typeface="Lato" panose="020F0502020204030203" pitchFamily="34" charset="0"/>
              </a:rPr>
              <a:t>2025 Network Meet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3B62A0A-4505-1120-4EE2-5DFEEE467D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5" y="6233150"/>
            <a:ext cx="3246958" cy="468770"/>
          </a:xfrm>
          <a:prstGeom prst="rect">
            <a:avLst/>
          </a:prstGeom>
        </p:spPr>
      </p:pic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0970126-ABE0-4F31-5CF9-E4FA5FBCC3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5" y="1802394"/>
            <a:ext cx="10874276" cy="41100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0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0F7377B-4E8F-5C3A-E3A6-AF46AB7FF2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8E6FD-B8E6-1FF9-1D78-FE89734F25D5}"/>
              </a:ext>
            </a:extLst>
          </p:cNvPr>
          <p:cNvSpPr txBox="1"/>
          <p:nvPr userDrawn="1"/>
        </p:nvSpPr>
        <p:spPr>
          <a:xfrm>
            <a:off x="8755102" y="6363366"/>
            <a:ext cx="3211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4C9C2E"/>
                </a:solidFill>
                <a:latin typeface="Lato" panose="020F0502020204030203" pitchFamily="34" charset="0"/>
              </a:rPr>
              <a:t>2025 Network Meeting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82ED118-0EA0-6311-8EB3-7A8E2882A69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375564" y="767513"/>
            <a:ext cx="6163294" cy="819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3B62A0A-4505-1120-4EE2-5DFEEE467D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5" y="6233150"/>
            <a:ext cx="3246958" cy="468770"/>
          </a:xfrm>
          <a:prstGeom prst="rect">
            <a:avLst/>
          </a:prstGeom>
        </p:spPr>
      </p:pic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0970126-ABE0-4F31-5CF9-E4FA5FBCC3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4" y="1802394"/>
            <a:ext cx="5181591" cy="41100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F076F847-E69C-25F0-A93C-2525DEA4CB8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02287" y="1802394"/>
            <a:ext cx="5269229" cy="41100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B449D1E-3032-240A-6F65-9228DC4CB763}"/>
              </a:ext>
            </a:extLst>
          </p:cNvPr>
          <p:cNvCxnSpPr>
            <a:cxnSpLocks/>
          </p:cNvCxnSpPr>
          <p:nvPr userDrawn="1"/>
        </p:nvCxnSpPr>
        <p:spPr>
          <a:xfrm>
            <a:off x="5220997" y="767513"/>
            <a:ext cx="0" cy="819371"/>
          </a:xfrm>
          <a:prstGeom prst="line">
            <a:avLst/>
          </a:prstGeom>
          <a:ln w="28575">
            <a:solidFill>
              <a:srgbClr val="4C9C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4946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8CAD199-D29A-B4C2-A9C5-811F9ADE3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5" y="6233150"/>
            <a:ext cx="3246958" cy="46877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CEDDE08-92BE-29BA-12B4-96D5FF131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069" y="583355"/>
            <a:ext cx="7126674" cy="654732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85A4F5D-E076-A08D-E051-0B4D0F3EF5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93" y="1336406"/>
            <a:ext cx="4724400" cy="3209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1624BF-30C0-31DA-BF72-E83F9E8A53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5CE7D89-B9EC-B412-783B-9531BE3ACD0C}"/>
              </a:ext>
            </a:extLst>
          </p:cNvPr>
          <p:cNvSpPr txBox="1"/>
          <p:nvPr userDrawn="1"/>
        </p:nvSpPr>
        <p:spPr>
          <a:xfrm>
            <a:off x="8755102" y="6363366"/>
            <a:ext cx="3211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4C9C2E"/>
                </a:solidFill>
                <a:latin typeface="Lato" panose="020F0502020204030203" pitchFamily="34" charset="0"/>
              </a:rPr>
              <a:t>2025 Network Meeting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71D674F-EC88-91DB-A606-8532E79F2A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693" y="1821442"/>
            <a:ext cx="11092450" cy="421644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  <a:lvl4pPr marL="1371600" indent="0">
              <a:buNone/>
              <a:defRPr/>
            </a:lvl4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5760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85A4F5D-E076-A08D-E051-0B4D0F3EF5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89417" y="639315"/>
            <a:ext cx="6073233" cy="819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1624BF-30C0-31DA-BF72-E83F9E8A53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8CE528-34A7-21F6-BEFF-0506CC491672}"/>
              </a:ext>
            </a:extLst>
          </p:cNvPr>
          <p:cNvSpPr txBox="1"/>
          <p:nvPr userDrawn="1"/>
        </p:nvSpPr>
        <p:spPr>
          <a:xfrm>
            <a:off x="8755102" y="6363366"/>
            <a:ext cx="3211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4C9C2E"/>
                </a:solidFill>
                <a:latin typeface="Lato" panose="020F0502020204030203" pitchFamily="34" charset="0"/>
              </a:rPr>
              <a:t>2025 Network Meeting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5166BC8-F87A-A254-D372-58E8E196E1F1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943902" y="1959430"/>
            <a:ext cx="5239183" cy="38753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FB87AB-A510-2078-DA24-BE62D0725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5" y="6233150"/>
            <a:ext cx="3246958" cy="46877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100C203-68F1-F9BD-72E4-1D25CD2B04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46054" y="1973482"/>
            <a:ext cx="4932363" cy="38750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8CA34FB-0B31-ECF0-B278-3857EEDAD4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901" y="621223"/>
            <a:ext cx="4108673" cy="939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CB60320-E064-86C1-0C9D-6F325EE08A3C}"/>
              </a:ext>
            </a:extLst>
          </p:cNvPr>
          <p:cNvCxnSpPr>
            <a:cxnSpLocks/>
          </p:cNvCxnSpPr>
          <p:nvPr userDrawn="1"/>
        </p:nvCxnSpPr>
        <p:spPr>
          <a:xfrm>
            <a:off x="5220997" y="639315"/>
            <a:ext cx="0" cy="819371"/>
          </a:xfrm>
          <a:prstGeom prst="line">
            <a:avLst/>
          </a:prstGeom>
          <a:ln w="28575">
            <a:solidFill>
              <a:srgbClr val="4C9C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8548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85A4F5D-E076-A08D-E051-0B4D0F3EF5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86399" y="620487"/>
            <a:ext cx="5976251" cy="838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1624BF-30C0-31DA-BF72-E83F9E8A53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8CE528-34A7-21F6-BEFF-0506CC491672}"/>
              </a:ext>
            </a:extLst>
          </p:cNvPr>
          <p:cNvSpPr txBox="1"/>
          <p:nvPr userDrawn="1"/>
        </p:nvSpPr>
        <p:spPr>
          <a:xfrm>
            <a:off x="8755102" y="6363366"/>
            <a:ext cx="3211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4C9C2E"/>
                </a:solidFill>
                <a:latin typeface="Lato" panose="020F0502020204030203" pitchFamily="34" charset="0"/>
              </a:rPr>
              <a:t>2025 Network Meeting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5166BC8-F87A-A254-D372-58E8E196E1F1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943903" y="1959430"/>
            <a:ext cx="5061852" cy="38753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FB87AB-A510-2078-DA24-BE62D0725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5" y="6233150"/>
            <a:ext cx="3246958" cy="46877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F1DC07F-7D7C-4914-ED46-B9CDA0C5CA0C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6306207" y="1975195"/>
            <a:ext cx="5203742" cy="38753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D6194DB-8CCD-8283-1E6C-59D08C388BE2}"/>
              </a:ext>
            </a:extLst>
          </p:cNvPr>
          <p:cNvCxnSpPr>
            <a:cxnSpLocks/>
          </p:cNvCxnSpPr>
          <p:nvPr userDrawn="1"/>
        </p:nvCxnSpPr>
        <p:spPr>
          <a:xfrm>
            <a:off x="5220997" y="639315"/>
            <a:ext cx="0" cy="819371"/>
          </a:xfrm>
          <a:prstGeom prst="line">
            <a:avLst/>
          </a:prstGeom>
          <a:ln w="28575">
            <a:solidFill>
              <a:srgbClr val="4C9C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6644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C72255-8542-9E4B-CD50-DA4E89061BEE}"/>
              </a:ext>
            </a:extLst>
          </p:cNvPr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85A4F5D-E076-A08D-E051-0B4D0F3EF5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35781" y="620487"/>
            <a:ext cx="5726869" cy="838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1624BF-30C0-31DA-BF72-E83F9E8A53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4EFA45D-7FDC-9BCA-A111-230B97529D16}"/>
              </a:ext>
            </a:extLst>
          </p:cNvPr>
          <p:cNvCxnSpPr>
            <a:cxnSpLocks/>
          </p:cNvCxnSpPr>
          <p:nvPr userDrawn="1"/>
        </p:nvCxnSpPr>
        <p:spPr>
          <a:xfrm>
            <a:off x="5516884" y="620487"/>
            <a:ext cx="0" cy="838199"/>
          </a:xfrm>
          <a:prstGeom prst="line">
            <a:avLst/>
          </a:prstGeom>
          <a:ln w="28575">
            <a:solidFill>
              <a:srgbClr val="57D4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258CE528-34A7-21F6-BEFF-0506CC491672}"/>
              </a:ext>
            </a:extLst>
          </p:cNvPr>
          <p:cNvSpPr txBox="1"/>
          <p:nvPr userDrawn="1"/>
        </p:nvSpPr>
        <p:spPr>
          <a:xfrm>
            <a:off x="8755102" y="6363366"/>
            <a:ext cx="3211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4C9C2E"/>
                </a:solidFill>
                <a:latin typeface="Lato" panose="020F0502020204030203" pitchFamily="34" charset="0"/>
              </a:rPr>
              <a:t>2025 Network Meeting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5166BC8-F87A-A254-D372-58E8E196E1F1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943903" y="1959430"/>
            <a:ext cx="5061852" cy="38753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FB87AB-A510-2078-DA24-BE62D072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5" y="6233150"/>
            <a:ext cx="3246958" cy="46877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F1DC07F-7D7C-4914-ED46-B9CDA0C5CA0C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6306207" y="1975195"/>
            <a:ext cx="5203742" cy="38753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435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5C7F960-893A-088C-B1EF-E1C5018B64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-1160846" y="508000"/>
            <a:ext cx="7637108" cy="748130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71AC99-C5A6-4183-3D1D-E9936879E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4346" y="2702877"/>
            <a:ext cx="3817620" cy="14522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74609A-7CCF-BBAE-B46F-E4F1CDFC22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4FA1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938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8338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74" r:id="rId2"/>
    <p:sldLayoutId id="2147483649" r:id="rId3"/>
    <p:sldLayoutId id="2147483666" r:id="rId4"/>
    <p:sldLayoutId id="2147483660" r:id="rId5"/>
    <p:sldLayoutId id="2147483665" r:id="rId6"/>
    <p:sldLayoutId id="2147483669" r:id="rId7"/>
    <p:sldLayoutId id="2147483670" r:id="rId8"/>
    <p:sldLayoutId id="2147483652" r:id="rId9"/>
    <p:sldLayoutId id="2147483671" r:id="rId10"/>
    <p:sldLayoutId id="2147483661" r:id="rId11"/>
    <p:sldLayoutId id="2147483664" r:id="rId12"/>
    <p:sldLayoutId id="2147483672" r:id="rId13"/>
    <p:sldLayoutId id="2147483673" r:id="rId14"/>
    <p:sldLayoutId id="2147483662" r:id="rId15"/>
    <p:sldLayoutId id="2147483667" r:id="rId16"/>
    <p:sldLayoutId id="2147483668" r:id="rId17"/>
    <p:sldLayoutId id="2147483679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fif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7.jpeg"/><Relationship Id="rId4" Type="http://schemas.openxmlformats.org/officeDocument/2006/relationships/image" Target="../media/image24.jf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slideLayout" Target="../slideLayouts/slideLayout4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01EC1B-722A-3F5D-4F91-F95C9705E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128" y="3448106"/>
            <a:ext cx="10537258" cy="106833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4000" b="1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Leveraging CHAMPS Infrastructure to Address</a:t>
            </a:r>
            <a:br>
              <a:rPr lang="en-US" sz="4000" b="1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US" sz="4000" b="1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the Role of Malaria in Adult Mortality</a:t>
            </a:r>
            <a:endParaRPr lang="en-US" sz="4000" dirty="0">
              <a:latin typeface="+mn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AD4996-5967-B63D-6698-0900AF2199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98641" y="5219669"/>
            <a:ext cx="3345767" cy="4263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2800" b="1" dirty="0"/>
              <a:t>Ima-Abasi Bassey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0098DC4-957C-91E5-3CD0-B50B182C432F}"/>
              </a:ext>
            </a:extLst>
          </p:cNvPr>
          <p:cNvSpPr txBox="1">
            <a:spLocks/>
          </p:cNvSpPr>
          <p:nvPr/>
        </p:nvSpPr>
        <p:spPr>
          <a:xfrm>
            <a:off x="1098641" y="4789496"/>
            <a:ext cx="2293145" cy="4263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400" i="1" dirty="0"/>
              <a:t>Presentation by</a:t>
            </a:r>
            <a:r>
              <a:rPr lang="en-GB" i="1" dirty="0"/>
              <a:t>: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5371AF3-367D-E4C7-8180-4B42B47A5A64}"/>
              </a:ext>
            </a:extLst>
          </p:cNvPr>
          <p:cNvSpPr txBox="1">
            <a:spLocks/>
          </p:cNvSpPr>
          <p:nvPr/>
        </p:nvSpPr>
        <p:spPr>
          <a:xfrm>
            <a:off x="1084127" y="5737642"/>
            <a:ext cx="5795137" cy="26975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000" dirty="0"/>
              <a:t>Lead Pathologist, CHAMPS Sierra Leone</a:t>
            </a:r>
          </a:p>
        </p:txBody>
      </p:sp>
    </p:spTree>
    <p:extLst>
      <p:ext uri="{BB962C8B-B14F-4D97-AF65-F5344CB8AC3E}">
        <p14:creationId xmlns:p14="http://schemas.microsoft.com/office/powerpoint/2010/main" val="34056749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9377F89-B86C-C74A-3531-FDE950E3103B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igating the claims</a:t>
            </a:r>
            <a:endParaRPr lang="en-SL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F17CAE-41BE-916D-4DA5-541A083978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im of this study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 to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fferentiate adults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‘dying from’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laria versus adults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‘dying with’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laria through a standardized approach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nvolved: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mortem Minimally Invasive Tissue Sampling (MITS) 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t panel review of data </a:t>
            </a:r>
          </a:p>
          <a:p>
            <a:endParaRPr lang="en-SL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7B91E82-4F2B-3BA3-0041-15B6855B61EA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/>
          <a:stretch>
            <a:fillRect/>
          </a:stretch>
        </p:blipFill>
        <p:spPr>
          <a:xfrm>
            <a:off x="5975499" y="2158414"/>
            <a:ext cx="5964864" cy="34768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6F8CEA-7C67-D0D4-CF9B-1D83A2223E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7960" y="2158414"/>
            <a:ext cx="1931705" cy="1034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065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7F4A65-4B33-0D4C-393F-390538243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44" y="3917"/>
            <a:ext cx="11055736" cy="702357"/>
          </a:xfrm>
        </p:spPr>
        <p:txBody>
          <a:bodyPr lIns="91440" tIns="45720" rIns="91440" bIns="45720" anchor="b"/>
          <a:lstStyle/>
          <a:p>
            <a:pPr>
              <a:lnSpc>
                <a:spcPct val="107000"/>
              </a:lnSpc>
              <a:spcBef>
                <a:spcPts val="1000"/>
              </a:spcBef>
              <a:spcAft>
                <a:spcPts val="800"/>
              </a:spcAft>
            </a:pPr>
            <a:r>
              <a:rPr lang="en-US" sz="2300" dirty="0">
                <a:latin typeface="Calibri"/>
                <a:ea typeface="Calibri"/>
                <a:cs typeface="Calibri"/>
              </a:rPr>
              <a:t>Characteristics of Study Population Enrolled at Both CHAMPS Sites (Kenya &amp; Sierra Leone)</a:t>
            </a:r>
            <a:endParaRPr lang="en-US" sz="2300" b="0" dirty="0">
              <a:latin typeface="Calibri"/>
              <a:ea typeface="Calibri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2F14CC-859C-2FFB-BAC0-5135607069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123" y="731856"/>
            <a:ext cx="13033775" cy="59732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BDFCB2-058F-0D3A-C82B-2D22ED1297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6571" y="1464850"/>
            <a:ext cx="1405429" cy="42561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923D36-826A-7FA3-CAA2-5984A9196B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5724" y="1480725"/>
            <a:ext cx="1405429" cy="4097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86940D7-2075-46FC-0134-3CEA7AC674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6547" y="1477876"/>
            <a:ext cx="1508617" cy="409735"/>
          </a:xfrm>
          <a:prstGeom prst="rect">
            <a:avLst/>
          </a:prstGeom>
        </p:spPr>
      </p:pic>
      <p:pic>
        <p:nvPicPr>
          <p:cNvPr id="13" name="Picture 12" descr="A red circle with black background&#10;&#10;AI-generated content may be incorrect.">
            <a:extLst>
              <a:ext uri="{FF2B5EF4-FFF2-40B4-BE49-F238E27FC236}">
                <a16:creationId xmlns:a16="http://schemas.microsoft.com/office/drawing/2014/main" id="{9815BD8B-ED56-6921-1663-77E3E7E98A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8134" y="2836776"/>
            <a:ext cx="1508617" cy="40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412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a test&#10;&#10;AI-generated content may be incorrect.">
            <a:extLst>
              <a:ext uri="{FF2B5EF4-FFF2-40B4-BE49-F238E27FC236}">
                <a16:creationId xmlns:a16="http://schemas.microsoft.com/office/drawing/2014/main" id="{72A89000-9CE1-9753-8AD0-6DBAA86EF0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094" y="4135467"/>
            <a:ext cx="2881423" cy="22115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4C5A9A6-1A1F-BC78-D397-4B3EA438FB8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</a:blip>
          <a:stretch>
            <a:fillRect/>
          </a:stretch>
        </p:blipFill>
        <p:spPr>
          <a:xfrm>
            <a:off x="3047663" y="4362253"/>
            <a:ext cx="3338623" cy="24957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1C08C-10F8-09B5-899B-31474969FD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4" y="1823660"/>
            <a:ext cx="5181591" cy="411006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Film Microscopy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ten considered the "gold standard" for malaria diagnosis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awback: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alse negatives - a low blood parasite count on a peripheral blood smear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es not necessarily correlate with the severity of the disease. </a:t>
            </a:r>
            <a:endParaRPr lang="en-SL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53EBBA-C4F0-A3C7-3AC9-71233425C7FD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id Diagnostic Tests (RDTs)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 commonly used tests within the study facilities</a:t>
            </a:r>
          </a:p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ly sensitive and specific tests especially valuable for detecting </a:t>
            </a:r>
            <a:r>
              <a:rPr kumimoji="0" lang="en-US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smodium falciparum.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awback: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lse nega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L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9F59B907-7D78-F14D-078A-0660FA3AB3A6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375275" y="512944"/>
            <a:ext cx="6164263" cy="819150"/>
          </a:xfrm>
        </p:spPr>
        <p:txBody>
          <a:bodyPr/>
          <a:lstStyle/>
          <a:p>
            <a:r>
              <a:rPr lang="en-US" sz="3600" b="1" dirty="0"/>
              <a:t>Interpreting malaria positivity:</a:t>
            </a:r>
          </a:p>
          <a:p>
            <a:r>
              <a:rPr lang="en-US" sz="3600" b="1" dirty="0"/>
              <a:t>The Considerations </a:t>
            </a:r>
          </a:p>
        </p:txBody>
      </p:sp>
    </p:spTree>
    <p:extLst>
      <p:ext uri="{BB962C8B-B14F-4D97-AF65-F5344CB8AC3E}">
        <p14:creationId xmlns:p14="http://schemas.microsoft.com/office/powerpoint/2010/main" val="2924340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956C5E-8CCC-F2BE-6E3B-07BD873BA2F4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375564" y="565494"/>
            <a:ext cx="6163294" cy="8193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preting malaria positivity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onsiderations </a:t>
            </a:r>
          </a:p>
          <a:p>
            <a:endParaRPr lang="en-S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ADFECA-5E45-C010-B00B-A23D7FB4BF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838" y="1572189"/>
            <a:ext cx="5181591" cy="411006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R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eptional sensitivity, specificity and ability to detect low levels of parasitemia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sitive PCR result does not necessarily indicate an active infe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awback: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ects parasite DNA, which can persist for some time after the parasites have been cleared by treatment</a:t>
            </a:r>
            <a:endParaRPr kumimoji="0" lang="en-SL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B568C6-FA71-4EE9-D38F-6AFAF7B8FD88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stopathology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 generally show the extent of tissue damage and can confirm malaria as the cause of deat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awback: Not used as a primary diagnostic tool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routine malaria management</a:t>
            </a:r>
            <a:endParaRPr kumimoji="0" lang="en-S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  <p:pic>
        <p:nvPicPr>
          <p:cNvPr id="5" name="Picture 4" descr="A close-up of a microscope&#10;&#10;AI-generated content may be incorrect.">
            <a:extLst>
              <a:ext uri="{FF2B5EF4-FFF2-40B4-BE49-F238E27FC236}">
                <a16:creationId xmlns:a16="http://schemas.microsoft.com/office/drawing/2014/main" id="{674BF20A-4D56-6F3C-6D74-F2A749641BD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765" y="4358761"/>
            <a:ext cx="3445662" cy="24957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Content Placeholder 7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B89FA91F-2726-FE10-AC59-50D48421E8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01" r="3" b="4665"/>
          <a:stretch/>
        </p:blipFill>
        <p:spPr>
          <a:xfrm>
            <a:off x="5376057" y="4514581"/>
            <a:ext cx="2733284" cy="233992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672962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701870-70A9-E129-1037-3F4EC94BD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12F55C-4301-2C29-70AD-DC210C0092F6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375564" y="586752"/>
            <a:ext cx="6163294" cy="819371"/>
          </a:xfrm>
        </p:spPr>
        <p:txBody>
          <a:bodyPr/>
          <a:lstStyle/>
          <a:p>
            <a:r>
              <a:rPr lang="en-US" sz="3600" b="1" dirty="0"/>
              <a:t>Cause of Death At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560FFB-4475-81B0-4B97-88B1976DA0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4" y="1802394"/>
            <a:ext cx="10830734" cy="4110067"/>
          </a:xfrm>
        </p:spPr>
        <p:txBody>
          <a:bodyPr lIns="91440" tIns="45720" rIns="91440" bIns="45720" anchor="t"/>
          <a:lstStyle/>
          <a:p>
            <a:pPr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Determining whether adults were dying from malaria or dying with malaria necessitates a more intricate assessment, which includes: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laboratory tests that evaluate organ function and complications, 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exclusion of other causes, 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/>
                <a:cs typeface="Times New Roman"/>
              </a:rPr>
              <a:t>careful consideration of the individual’s risk factors, and epidemiological context</a:t>
            </a:r>
            <a:r>
              <a:rPr lang="en-US" sz="2800" dirty="0">
                <a:solidFill>
                  <a:prstClr val="black"/>
                </a:solidFill>
                <a:ea typeface="Calibri"/>
                <a:cs typeface="Times New Roman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Times New Roman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HAMPS study convened an </a:t>
            </a:r>
            <a:r>
              <a:rPr lang="en-US" sz="2800" dirty="0">
                <a:latin typeface="Calibri" panose="020F0502020204030204"/>
              </a:rPr>
              <a:t>external panel of experts to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‘malaria cause of death algorithm’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that purpose.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(i.e. criteria to attribute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‘Caus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 of Death’ in adults)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  </a:t>
            </a:r>
            <a:endParaRPr lang="en-US" sz="2400" dirty="0">
              <a:solidFill>
                <a:prstClr val="black"/>
              </a:solidFill>
              <a:latin typeface="Calibri"/>
              <a:ea typeface="Calibri"/>
              <a:cs typeface="Times New Roman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SL" dirty="0"/>
          </a:p>
        </p:txBody>
      </p:sp>
    </p:spTree>
    <p:extLst>
      <p:ext uri="{BB962C8B-B14F-4D97-AF65-F5344CB8AC3E}">
        <p14:creationId xmlns:p14="http://schemas.microsoft.com/office/powerpoint/2010/main" val="7596351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BA711D6-3D1A-B871-C93F-AFBF21F2EA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8621" y="859316"/>
            <a:ext cx="9994757" cy="5930422"/>
          </a:xfrm>
          <a:prstGeom prst="rect">
            <a:avLst/>
          </a:prstGeom>
          <a:noFill/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C6C67F6-E645-4185-B41B-5AE9D99F6E3A}"/>
              </a:ext>
            </a:extLst>
          </p:cNvPr>
          <p:cNvSpPr txBox="1">
            <a:spLocks/>
          </p:cNvSpPr>
          <p:nvPr/>
        </p:nvSpPr>
        <p:spPr>
          <a:xfrm>
            <a:off x="2787265" y="201160"/>
            <a:ext cx="6592285" cy="819371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dirty="0"/>
              <a:t>Malaria cause of death algorithm</a:t>
            </a:r>
          </a:p>
        </p:txBody>
      </p:sp>
      <p:sp>
        <p:nvSpPr>
          <p:cNvPr id="3" name="Arc 5">
            <a:extLst>
              <a:ext uri="{FF2B5EF4-FFF2-40B4-BE49-F238E27FC236}">
                <a16:creationId xmlns:a16="http://schemas.microsoft.com/office/drawing/2014/main" id="{27CFB354-C5E5-CC10-6C25-E22B1F02A6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3060" y="2620538"/>
            <a:ext cx="1245003" cy="510548"/>
          </a:xfrm>
          <a:custGeom>
            <a:avLst/>
            <a:gdLst>
              <a:gd name="connsiteX0" fmla="*/ 2419039 w 4838078"/>
              <a:gd name="connsiteY0" fmla="*/ 0 h 2690668"/>
              <a:gd name="connsiteX1" fmla="*/ 4836775 w 4838078"/>
              <a:gd name="connsiteY1" fmla="*/ 1301181 h 2690668"/>
              <a:gd name="connsiteX2" fmla="*/ 2468182 w 4838078"/>
              <a:gd name="connsiteY2" fmla="*/ 2690390 h 2690668"/>
              <a:gd name="connsiteX3" fmla="*/ 11673 w 4838078"/>
              <a:gd name="connsiteY3" fmla="*/ 1477341 h 2690668"/>
              <a:gd name="connsiteX4" fmla="*/ 2320681 w 4838078"/>
              <a:gd name="connsiteY4" fmla="*/ 1111 h 2690668"/>
              <a:gd name="connsiteX5" fmla="*/ 2419039 w 4838078"/>
              <a:gd name="connsiteY5" fmla="*/ 1345334 h 2690668"/>
              <a:gd name="connsiteX6" fmla="*/ 2419039 w 4838078"/>
              <a:gd name="connsiteY6" fmla="*/ 0 h 2690668"/>
              <a:gd name="connsiteX0" fmla="*/ 2419039 w 4838078"/>
              <a:gd name="connsiteY0" fmla="*/ 0 h 2690668"/>
              <a:gd name="connsiteX1" fmla="*/ 4836775 w 4838078"/>
              <a:gd name="connsiteY1" fmla="*/ 1301181 h 2690668"/>
              <a:gd name="connsiteX2" fmla="*/ 2468182 w 4838078"/>
              <a:gd name="connsiteY2" fmla="*/ 2690390 h 2690668"/>
              <a:gd name="connsiteX3" fmla="*/ 11673 w 4838078"/>
              <a:gd name="connsiteY3" fmla="*/ 1477341 h 2690668"/>
              <a:gd name="connsiteX4" fmla="*/ 2320681 w 4838078"/>
              <a:gd name="connsiteY4" fmla="*/ 1111 h 2690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8078" h="2690668" stroke="0" extrusionOk="0">
                <a:moveTo>
                  <a:pt x="2419039" y="0"/>
                </a:moveTo>
                <a:cubicBezTo>
                  <a:pt x="3646059" y="-48157"/>
                  <a:pt x="4686538" y="616064"/>
                  <a:pt x="4836775" y="1301181"/>
                </a:cubicBezTo>
                <a:cubicBezTo>
                  <a:pt x="4972678" y="2069663"/>
                  <a:pt x="3741086" y="2677536"/>
                  <a:pt x="2468182" y="2690390"/>
                </a:cubicBezTo>
                <a:cubicBezTo>
                  <a:pt x="1116347" y="2791737"/>
                  <a:pt x="125915" y="2229825"/>
                  <a:pt x="11673" y="1477341"/>
                </a:cubicBezTo>
                <a:cubicBezTo>
                  <a:pt x="-255241" y="636243"/>
                  <a:pt x="1051422" y="90061"/>
                  <a:pt x="2320681" y="1111"/>
                </a:cubicBezTo>
                <a:cubicBezTo>
                  <a:pt x="2444288" y="532799"/>
                  <a:pt x="2478530" y="722508"/>
                  <a:pt x="2419039" y="1345334"/>
                </a:cubicBezTo>
                <a:cubicBezTo>
                  <a:pt x="2485613" y="861870"/>
                  <a:pt x="2493654" y="427306"/>
                  <a:pt x="2419039" y="0"/>
                </a:cubicBezTo>
                <a:close/>
              </a:path>
              <a:path w="4838078" h="2690668" fill="none" extrusionOk="0">
                <a:moveTo>
                  <a:pt x="2419039" y="0"/>
                </a:moveTo>
                <a:cubicBezTo>
                  <a:pt x="3783129" y="90875"/>
                  <a:pt x="4879416" y="680451"/>
                  <a:pt x="4836775" y="1301181"/>
                </a:cubicBezTo>
                <a:cubicBezTo>
                  <a:pt x="5050645" y="1901841"/>
                  <a:pt x="3861042" y="2462044"/>
                  <a:pt x="2468182" y="2690390"/>
                </a:cubicBezTo>
                <a:cubicBezTo>
                  <a:pt x="1084746" y="2724491"/>
                  <a:pt x="33362" y="2105782"/>
                  <a:pt x="11673" y="1477341"/>
                </a:cubicBezTo>
                <a:cubicBezTo>
                  <a:pt x="-230255" y="700129"/>
                  <a:pt x="894742" y="-41508"/>
                  <a:pt x="2320681" y="1111"/>
                </a:cubicBezTo>
              </a:path>
              <a:path w="4838078" h="2690668" fill="none" stroke="0" extrusionOk="0">
                <a:moveTo>
                  <a:pt x="2419039" y="0"/>
                </a:moveTo>
                <a:cubicBezTo>
                  <a:pt x="3714935" y="-87701"/>
                  <a:pt x="4764533" y="616625"/>
                  <a:pt x="4836775" y="1301181"/>
                </a:cubicBezTo>
                <a:cubicBezTo>
                  <a:pt x="4907552" y="2065224"/>
                  <a:pt x="3904387" y="2696477"/>
                  <a:pt x="2468182" y="2690390"/>
                </a:cubicBezTo>
                <a:cubicBezTo>
                  <a:pt x="1151916" y="2695990"/>
                  <a:pt x="233932" y="2256742"/>
                  <a:pt x="11673" y="1477341"/>
                </a:cubicBezTo>
                <a:cubicBezTo>
                  <a:pt x="-63884" y="798283"/>
                  <a:pt x="938502" y="109450"/>
                  <a:pt x="2320681" y="1111"/>
                </a:cubicBezTo>
              </a:path>
            </a:pathLst>
          </a:custGeom>
          <a:ln w="9525" cap="rnd">
            <a:solidFill>
              <a:srgbClr val="FF0000">
                <a:alpha val="63000"/>
              </a:srgb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/>
          <a:p>
            <a:endParaRPr lang="en-S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20EE60-09BA-611A-91E6-117D59E73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6390" y="2620538"/>
            <a:ext cx="1268078" cy="43512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7B68443-075C-8DF1-B359-976436B0E0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7921" y="2620539"/>
            <a:ext cx="1268078" cy="6043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99D95D-DA50-994A-6676-022A2E130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4771" y="1544072"/>
            <a:ext cx="1268078" cy="9203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9185820-E03E-DD46-FF19-6DCC684F07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6693" y="5564460"/>
            <a:ext cx="1268078" cy="12935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371F3A-394A-0828-6B8C-DF9ABCE16D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0985" y="5313929"/>
            <a:ext cx="1268078" cy="712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075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C005A-1B51-8417-0F8F-334EB14B7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38C996F-D69B-00AB-437F-25CC4527F3E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6566052" y="649305"/>
            <a:ext cx="5028653" cy="819371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/>
              <a:t>Proportion of cases with malaria in the causal chain</a:t>
            </a:r>
            <a:endParaRPr lang="en-SL" sz="32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00B23-BB45-C1BB-CCFB-E29E33A2D0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4" y="1802394"/>
            <a:ext cx="10830734" cy="4110067"/>
          </a:xfrm>
        </p:spPr>
        <p:txBody>
          <a:bodyPr/>
          <a:lstStyle/>
          <a:p>
            <a:pPr marL="228600" indent="-228600">
              <a:buFont typeface="Arial" panose="020B0604020202020204" pitchFamily="34" charset="0"/>
              <a:buChar char="•"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SL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DA51600-8683-A245-A11F-B32D93E372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0746936"/>
              </p:ext>
            </p:extLst>
          </p:nvPr>
        </p:nvGraphicFramePr>
        <p:xfrm>
          <a:off x="-2106533" y="1471525"/>
          <a:ext cx="9819249" cy="4979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8BC6ADC-B135-68FE-0DA6-105E951C41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4722971"/>
              </p:ext>
            </p:extLst>
          </p:nvPr>
        </p:nvGraphicFramePr>
        <p:xfrm>
          <a:off x="4938263" y="1458908"/>
          <a:ext cx="8274210" cy="4797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8D873A10-4322-D865-964A-0835B1907C82}"/>
              </a:ext>
            </a:extLst>
          </p:cNvPr>
          <p:cNvSpPr txBox="1">
            <a:spLocks/>
          </p:cNvSpPr>
          <p:nvPr/>
        </p:nvSpPr>
        <p:spPr>
          <a:xfrm>
            <a:off x="51277" y="658657"/>
            <a:ext cx="5247835" cy="8193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 dirty="0">
                <a:latin typeface="Aptos" panose="020B0004020202020204" pitchFamily="34" charset="0"/>
              </a:rPr>
              <a:t>Proportion of malaria positive cases </a:t>
            </a:r>
            <a:endParaRPr lang="en-SL" sz="3200" b="1" dirty="0">
              <a:latin typeface="Aptos" panose="020B0004020202020204" pitchFamily="34" charset="0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78FC9B55-B94F-E981-F6CE-D296A99CCB1B}"/>
              </a:ext>
            </a:extLst>
          </p:cNvPr>
          <p:cNvSpPr txBox="1">
            <a:spLocks/>
          </p:cNvSpPr>
          <p:nvPr/>
        </p:nvSpPr>
        <p:spPr>
          <a:xfrm>
            <a:off x="3434748" y="115688"/>
            <a:ext cx="4440478" cy="8193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 dirty="0">
                <a:latin typeface="Aptos" panose="020B0004020202020204" pitchFamily="34" charset="0"/>
              </a:rPr>
              <a:t>The Verdict</a:t>
            </a:r>
            <a:endParaRPr lang="en-SL" sz="3200" b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5693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3FD83B-5B75-38F9-32A3-74DC396344D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23088" y="1249154"/>
            <a:ext cx="5268912" cy="411003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ing the ‘malaria cause of death algorithm’, let’s examine the ways the positivity played out…..</a:t>
            </a:r>
            <a:endParaRPr kumimoji="0" lang="en-SL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A0EC350-B9DF-7B40-FE9D-3DC347209ED8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alphaModFix/>
          </a:blip>
          <a:stretch>
            <a:fillRect/>
          </a:stretch>
        </p:blipFill>
        <p:spPr>
          <a:xfrm>
            <a:off x="2930769" y="1349166"/>
            <a:ext cx="3311525" cy="23399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 descr="A close-up of a microscope&#10;&#10;AI-generated content may be incorrect.">
            <a:extLst>
              <a:ext uri="{FF2B5EF4-FFF2-40B4-BE49-F238E27FC236}">
                <a16:creationId xmlns:a16="http://schemas.microsoft.com/office/drawing/2014/main" id="{2F9C809A-1FBC-28AF-10D2-20B94E2F5A8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625" y="3114175"/>
            <a:ext cx="3445662" cy="249574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 descr="A close-up of a test&#10;&#10;AI-generated content may be incorrect.">
            <a:extLst>
              <a:ext uri="{FF2B5EF4-FFF2-40B4-BE49-F238E27FC236}">
                <a16:creationId xmlns:a16="http://schemas.microsoft.com/office/drawing/2014/main" id="{333BF264-E2E7-FE80-81E4-99AC5A381ED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12" y="1414113"/>
            <a:ext cx="3143676" cy="221157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Content Placeholder 7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77351AB5-E2D8-DE03-25C3-00DB736FFD4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01" r="3" b="4665"/>
          <a:stretch/>
        </p:blipFill>
        <p:spPr>
          <a:xfrm>
            <a:off x="867548" y="3269995"/>
            <a:ext cx="2992035" cy="233992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047440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3466A-ED7E-75A0-B145-BB204E110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0C16CBED-6438-0FAB-0BFD-51EBD99A618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87680" y="1371601"/>
          <a:ext cx="11325094" cy="48663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0016">
                  <a:extLst>
                    <a:ext uri="{9D8B030D-6E8A-4147-A177-3AD203B41FA5}">
                      <a16:colId xmlns:a16="http://schemas.microsoft.com/office/drawing/2014/main" val="1642957164"/>
                    </a:ext>
                  </a:extLst>
                </a:gridCol>
                <a:gridCol w="1108163">
                  <a:extLst>
                    <a:ext uri="{9D8B030D-6E8A-4147-A177-3AD203B41FA5}">
                      <a16:colId xmlns:a16="http://schemas.microsoft.com/office/drawing/2014/main" val="261156142"/>
                    </a:ext>
                  </a:extLst>
                </a:gridCol>
                <a:gridCol w="674742">
                  <a:extLst>
                    <a:ext uri="{9D8B030D-6E8A-4147-A177-3AD203B41FA5}">
                      <a16:colId xmlns:a16="http://schemas.microsoft.com/office/drawing/2014/main" val="3212665860"/>
                    </a:ext>
                  </a:extLst>
                </a:gridCol>
                <a:gridCol w="1780503">
                  <a:extLst>
                    <a:ext uri="{9D8B030D-6E8A-4147-A177-3AD203B41FA5}">
                      <a16:colId xmlns:a16="http://schemas.microsoft.com/office/drawing/2014/main" val="1908624342"/>
                    </a:ext>
                  </a:extLst>
                </a:gridCol>
                <a:gridCol w="1115026">
                  <a:extLst>
                    <a:ext uri="{9D8B030D-6E8A-4147-A177-3AD203B41FA5}">
                      <a16:colId xmlns:a16="http://schemas.microsoft.com/office/drawing/2014/main" val="701759383"/>
                    </a:ext>
                  </a:extLst>
                </a:gridCol>
                <a:gridCol w="574158">
                  <a:extLst>
                    <a:ext uri="{9D8B030D-6E8A-4147-A177-3AD203B41FA5}">
                      <a16:colId xmlns:a16="http://schemas.microsoft.com/office/drawing/2014/main" val="274699872"/>
                    </a:ext>
                  </a:extLst>
                </a:gridCol>
                <a:gridCol w="1169582">
                  <a:extLst>
                    <a:ext uri="{9D8B030D-6E8A-4147-A177-3AD203B41FA5}">
                      <a16:colId xmlns:a16="http://schemas.microsoft.com/office/drawing/2014/main" val="1137192959"/>
                    </a:ext>
                  </a:extLst>
                </a:gridCol>
                <a:gridCol w="1020402">
                  <a:extLst>
                    <a:ext uri="{9D8B030D-6E8A-4147-A177-3AD203B41FA5}">
                      <a16:colId xmlns:a16="http://schemas.microsoft.com/office/drawing/2014/main" val="2706774093"/>
                    </a:ext>
                  </a:extLst>
                </a:gridCol>
                <a:gridCol w="746780">
                  <a:extLst>
                    <a:ext uri="{9D8B030D-6E8A-4147-A177-3AD203B41FA5}">
                      <a16:colId xmlns:a16="http://schemas.microsoft.com/office/drawing/2014/main" val="738482690"/>
                    </a:ext>
                  </a:extLst>
                </a:gridCol>
                <a:gridCol w="608456">
                  <a:extLst>
                    <a:ext uri="{9D8B030D-6E8A-4147-A177-3AD203B41FA5}">
                      <a16:colId xmlns:a16="http://schemas.microsoft.com/office/drawing/2014/main" val="2052743007"/>
                    </a:ext>
                  </a:extLst>
                </a:gridCol>
                <a:gridCol w="941720">
                  <a:extLst>
                    <a:ext uri="{9D8B030D-6E8A-4147-A177-3AD203B41FA5}">
                      <a16:colId xmlns:a16="http://schemas.microsoft.com/office/drawing/2014/main" val="3314366756"/>
                    </a:ext>
                  </a:extLst>
                </a:gridCol>
                <a:gridCol w="765546">
                  <a:extLst>
                    <a:ext uri="{9D8B030D-6E8A-4147-A177-3AD203B41FA5}">
                      <a16:colId xmlns:a16="http://schemas.microsoft.com/office/drawing/2014/main" val="3478164366"/>
                    </a:ext>
                  </a:extLst>
                </a:gridCol>
              </a:tblGrid>
              <a:tr h="793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Case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Age (Yrs)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>
                          <a:effectLst/>
                        </a:rPr>
                        <a:t>Sex</a:t>
                      </a:r>
                      <a:endParaRPr lang="en-SL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Place of death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>
                          <a:effectLst/>
                        </a:rPr>
                        <a:t>Malaria Season</a:t>
                      </a:r>
                      <a:endParaRPr lang="en-SL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>
                          <a:effectLst/>
                        </a:rPr>
                        <a:t>HIV</a:t>
                      </a:r>
                      <a:endParaRPr lang="en-SL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Mortality</a:t>
                      </a: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cs typeface="Times New Roman" panose="02020603050405020304" pitchFamily="18" charset="0"/>
                        </a:rPr>
                        <a:t> Risk Factors</a:t>
                      </a:r>
                      <a:endParaRPr lang="en-US" sz="2000" kern="100" dirty="0">
                        <a:effectLst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>
                          <a:effectLst/>
                        </a:rPr>
                        <a:t>Severity</a:t>
                      </a:r>
                      <a:endParaRPr lang="en-SL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>
                          <a:effectLst/>
                        </a:rPr>
                        <a:t>RDT</a:t>
                      </a:r>
                      <a:endParaRPr lang="en-SL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PCR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Blood Smear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Path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FA1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6421250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1 </a:t>
                      </a:r>
                      <a:r>
                        <a:rPr lang="en-US" sz="2000" b="0" kern="100" dirty="0">
                          <a:effectLst/>
                        </a:rPr>
                        <a:t>KE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18-29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M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Commun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Off-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922360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2  </a:t>
                      </a:r>
                      <a:r>
                        <a:rPr lang="en-US" sz="2000" b="0" kern="100" dirty="0">
                          <a:effectLst/>
                        </a:rPr>
                        <a:t>KE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18-29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acil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Off-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HIV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953439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3 </a:t>
                      </a:r>
                      <a:r>
                        <a:rPr lang="en-US" sz="2000" b="0" kern="100" dirty="0">
                          <a:effectLst/>
                        </a:rPr>
                        <a:t>KE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30-44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Commun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Off-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HIV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599086"/>
                  </a:ext>
                </a:extLst>
              </a:tr>
              <a:tr h="3962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4 </a:t>
                      </a:r>
                      <a:r>
                        <a:rPr lang="en-US" sz="2000" b="0" kern="100" dirty="0">
                          <a:effectLst/>
                        </a:rPr>
                        <a:t>KE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30-44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acil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HIV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841141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5 SL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30-44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M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acil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HIV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064581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6 SL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30-44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acil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Off-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HIV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380199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7 SL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30-44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Commun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Off-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434508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8  </a:t>
                      </a:r>
                      <a:r>
                        <a:rPr lang="en-US" sz="2000" b="0" kern="100" dirty="0">
                          <a:effectLst/>
                        </a:rPr>
                        <a:t>KE</a:t>
                      </a:r>
                      <a:endParaRPr lang="en-SL" sz="20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45-59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M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Community 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6207281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9 </a:t>
                      </a:r>
                      <a:r>
                        <a:rPr lang="en-US" sz="2000" b="0" kern="100" dirty="0">
                          <a:effectLst/>
                        </a:rPr>
                        <a:t>KE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70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acil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Off-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037112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10 </a:t>
                      </a:r>
                      <a:r>
                        <a:rPr lang="en-US" sz="2000" b="0" kern="100" dirty="0">
                          <a:effectLst/>
                        </a:rPr>
                        <a:t>KE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4A9C2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70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F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Community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Off-peak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Yes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+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SL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907289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0F13352-A9C4-E5CE-4D25-66320A77AB5A}"/>
              </a:ext>
            </a:extLst>
          </p:cNvPr>
          <p:cNvSpPr txBox="1">
            <a:spLocks/>
          </p:cNvSpPr>
          <p:nvPr/>
        </p:nvSpPr>
        <p:spPr>
          <a:xfrm>
            <a:off x="487680" y="221251"/>
            <a:ext cx="11216640" cy="9270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raphic, Clinical and Laboratory Characteristics of Malaria Deaths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*Severity = Coma, Acute Renal Failure, Shock, Dyspnea, Bleeding Disorder; Mortality Risk Factors = anemia, pregnancy, co-existing chronic disease, cancer &amp; other immunosuppressive diseases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7F47D01-C076-EEF0-F014-8866093A13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5107078" y="3303275"/>
            <a:ext cx="2232838" cy="85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940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close-up of a purple and white cell&#10;&#10;AI-generated content may be incorrect.">
            <a:extLst>
              <a:ext uri="{FF2B5EF4-FFF2-40B4-BE49-F238E27FC236}">
                <a16:creationId xmlns:a16="http://schemas.microsoft.com/office/drawing/2014/main" id="{F7F66783-9545-C0AE-6598-E2368B5F38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595" y="828213"/>
            <a:ext cx="4791328" cy="2715086"/>
          </a:xfrm>
        </p:spPr>
      </p:pic>
      <p:pic>
        <p:nvPicPr>
          <p:cNvPr id="10" name="Picture 9" descr="A close-up of a pink and purple cell&#10;&#10;AI-generated content may be incorrect.">
            <a:extLst>
              <a:ext uri="{FF2B5EF4-FFF2-40B4-BE49-F238E27FC236}">
                <a16:creationId xmlns:a16="http://schemas.microsoft.com/office/drawing/2014/main" id="{CD405588-BE20-6A65-37F3-D079DDF9E9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166" y="812779"/>
            <a:ext cx="4791328" cy="2715086"/>
          </a:xfrm>
          <a:prstGeom prst="rect">
            <a:avLst/>
          </a:prstGeom>
        </p:spPr>
      </p:pic>
      <p:pic>
        <p:nvPicPr>
          <p:cNvPr id="12" name="Picture 11" descr="A pink and black speckled background&#10;&#10;AI-generated content may be incorrect.">
            <a:extLst>
              <a:ext uri="{FF2B5EF4-FFF2-40B4-BE49-F238E27FC236}">
                <a16:creationId xmlns:a16="http://schemas.microsoft.com/office/drawing/2014/main" id="{B03E9025-3B4C-A6A9-9C68-1A633B9E32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4045" y="3428999"/>
            <a:ext cx="4791328" cy="2616221"/>
          </a:xfrm>
          <a:prstGeom prst="rect">
            <a:avLst/>
          </a:prstGeom>
        </p:spPr>
      </p:pic>
      <p:pic>
        <p:nvPicPr>
          <p:cNvPr id="16" name="Picture 15" descr="A close-up of a blue and purple speckled surface&#10;&#10;AI-generated content may be incorrect.">
            <a:extLst>
              <a:ext uri="{FF2B5EF4-FFF2-40B4-BE49-F238E27FC236}">
                <a16:creationId xmlns:a16="http://schemas.microsoft.com/office/drawing/2014/main" id="{CBE4E6C6-FB04-AF16-E3E6-8578B62589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614" y="3417512"/>
            <a:ext cx="4791329" cy="2616221"/>
          </a:xfrm>
          <a:prstGeom prst="rect">
            <a:avLst/>
          </a:prstGeom>
        </p:spPr>
      </p:pic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7337DF03-F1E7-D17F-0029-E769CF2AA776}"/>
              </a:ext>
            </a:extLst>
          </p:cNvPr>
          <p:cNvSpPr txBox="1">
            <a:spLocks/>
          </p:cNvSpPr>
          <p:nvPr/>
        </p:nvSpPr>
        <p:spPr>
          <a:xfrm>
            <a:off x="3829050" y="201160"/>
            <a:ext cx="5577840" cy="819371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dirty="0"/>
              <a:t>Organ Pathology in Malaria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42C36042-9ACF-6032-6BEF-EFD0550B3540}"/>
              </a:ext>
            </a:extLst>
          </p:cNvPr>
          <p:cNvSpPr txBox="1">
            <a:spLocks/>
          </p:cNvSpPr>
          <p:nvPr/>
        </p:nvSpPr>
        <p:spPr>
          <a:xfrm>
            <a:off x="5061098" y="3078832"/>
            <a:ext cx="950308" cy="334733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Spleen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EAB0DA46-EF87-572C-E8CA-37630267FA7B}"/>
              </a:ext>
            </a:extLst>
          </p:cNvPr>
          <p:cNvSpPr txBox="1">
            <a:spLocks/>
          </p:cNvSpPr>
          <p:nvPr/>
        </p:nvSpPr>
        <p:spPr>
          <a:xfrm>
            <a:off x="10037137" y="3078832"/>
            <a:ext cx="934614" cy="350167"/>
          </a:xfr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Liver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42FDCD27-CF4C-BC27-8D23-8DBEF359AF7B}"/>
              </a:ext>
            </a:extLst>
          </p:cNvPr>
          <p:cNvSpPr txBox="1">
            <a:spLocks/>
          </p:cNvSpPr>
          <p:nvPr/>
        </p:nvSpPr>
        <p:spPr>
          <a:xfrm>
            <a:off x="5189220" y="5685401"/>
            <a:ext cx="886205" cy="306654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Brain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94C0BA-F83E-546C-DB5C-C5C903581B69}"/>
              </a:ext>
            </a:extLst>
          </p:cNvPr>
          <p:cNvSpPr txBox="1">
            <a:spLocks/>
          </p:cNvSpPr>
          <p:nvPr/>
        </p:nvSpPr>
        <p:spPr>
          <a:xfrm>
            <a:off x="9438789" y="5667150"/>
            <a:ext cx="1451610" cy="339709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Brain (IHC)</a:t>
            </a:r>
          </a:p>
        </p:txBody>
      </p:sp>
    </p:spTree>
    <p:extLst>
      <p:ext uri="{BB962C8B-B14F-4D97-AF65-F5344CB8AC3E}">
        <p14:creationId xmlns:p14="http://schemas.microsoft.com/office/powerpoint/2010/main" val="52431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52BBD8-5B79-8C33-6E6D-77553ADB99FF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sz="4400" b="1" dirty="0"/>
              <a:t>Outline:</a:t>
            </a:r>
            <a:endParaRPr lang="en-SL" sz="4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1F2ABE-8388-A396-26BE-03FFCE1819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Background &amp; what we kn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Impetus for the adult malaria stu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Laboratory findings: Limitations &amp; Pitfa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The value of the </a:t>
            </a:r>
            <a:r>
              <a:rPr lang="en-US" sz="2800" dirty="0" err="1"/>
              <a:t>DeCoDe</a:t>
            </a:r>
            <a:r>
              <a:rPr lang="en-US" sz="2800" dirty="0"/>
              <a:t> process in attribution of C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Lessons learned from CHAMPS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L" sz="2800" dirty="0"/>
          </a:p>
        </p:txBody>
      </p:sp>
    </p:spTree>
    <p:extLst>
      <p:ext uri="{BB962C8B-B14F-4D97-AF65-F5344CB8AC3E}">
        <p14:creationId xmlns:p14="http://schemas.microsoft.com/office/powerpoint/2010/main" val="36369048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19CA2B3-E228-80A7-3931-9259F02A660C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More on the Findings of the CHAMPS Malaria Study:</a:t>
            </a:r>
            <a:endParaRPr kumimoji="0" lang="en-SL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73C4A3-0FDB-BFFB-A263-A2A7AB309D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endParaRPr kumimoji="0" lang="en-US" sz="3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r>
              <a: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t the poster presentation stand today:</a:t>
            </a:r>
          </a:p>
          <a:p>
            <a:r>
              <a:rPr lang="en-US" sz="3300" b="1" dirty="0">
                <a:solidFill>
                  <a:prstClr val="black"/>
                </a:solidFill>
                <a:latin typeface="Calibri" panose="020F0502020204030204"/>
              </a:rPr>
              <a:t>Venue: </a:t>
            </a:r>
            <a:r>
              <a: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ddle Terrace</a:t>
            </a:r>
          </a:p>
          <a:p>
            <a:r>
              <a:rPr lang="en-US" sz="3300" b="1" dirty="0">
                <a:solidFill>
                  <a:prstClr val="black"/>
                </a:solidFill>
                <a:latin typeface="Calibri" panose="020F0502020204030204"/>
              </a:rPr>
              <a:t>Time:</a:t>
            </a:r>
            <a:r>
              <a: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:00pm - 6:15pm</a:t>
            </a:r>
            <a:endParaRPr lang="en-US" sz="3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endParaRPr lang="en-SL" dirty="0"/>
          </a:p>
        </p:txBody>
      </p:sp>
      <p:pic>
        <p:nvPicPr>
          <p:cNvPr id="7" name="Content Placeholder 6" descr="A poster with text and images&#10;&#10;AI-generated content may be incorrect.">
            <a:extLst>
              <a:ext uri="{FF2B5EF4-FFF2-40B4-BE49-F238E27FC236}">
                <a16:creationId xmlns:a16="http://schemas.microsoft.com/office/drawing/2014/main" id="{D412E372-2E98-95A8-221F-DE8DD48EB79E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375" y="1890514"/>
            <a:ext cx="5268913" cy="3951684"/>
          </a:xfrm>
        </p:spPr>
      </p:pic>
    </p:spTree>
    <p:extLst>
      <p:ext uri="{BB962C8B-B14F-4D97-AF65-F5344CB8AC3E}">
        <p14:creationId xmlns:p14="http://schemas.microsoft.com/office/powerpoint/2010/main" val="2041533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7">
            <a:extLst>
              <a:ext uri="{FF2B5EF4-FFF2-40B4-BE49-F238E27FC236}">
                <a16:creationId xmlns:a16="http://schemas.microsoft.com/office/drawing/2014/main" id="{CE60095A-7CD2-E95F-8BEA-C02CBF8D2DF7}"/>
              </a:ext>
            </a:extLst>
          </p:cNvPr>
          <p:cNvSpPr/>
          <p:nvPr/>
        </p:nvSpPr>
        <p:spPr>
          <a:xfrm>
            <a:off x="2020934" y="146483"/>
            <a:ext cx="8409605" cy="238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/>
                <a:ea typeface="+mn-ea"/>
                <a:cs typeface="+mn-cs"/>
              </a:rPr>
              <a:t>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600" i="1" dirty="0">
              <a:solidFill>
                <a:prstClr val="white"/>
              </a:solidFill>
              <a:latin typeface="Plus Jakarta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/>
                <a:ea typeface="+mn-ea"/>
                <a:cs typeface="+mn-cs"/>
              </a:rPr>
              <a:t>    </a:t>
            </a:r>
            <a:r>
              <a:rPr kumimoji="0" lang="en-US" sz="5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/>
                <a:ea typeface="+mn-ea"/>
                <a:cs typeface="+mn-cs"/>
              </a:rPr>
              <a:t>Finally</a:t>
            </a:r>
            <a:r>
              <a:rPr lang="en-US" sz="5400" i="1" dirty="0">
                <a:solidFill>
                  <a:prstClr val="white"/>
                </a:solidFill>
                <a:latin typeface="Plus Jakarta San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i="1" dirty="0">
                <a:solidFill>
                  <a:prstClr val="white"/>
                </a:solidFill>
                <a:latin typeface="Plus Jakarta Sans"/>
              </a:rPr>
              <a:t>A quick comparis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/>
                <a:ea typeface="+mn-ea"/>
                <a:cs typeface="+mn-cs"/>
              </a:rPr>
              <a:t>Child Data Vs Adult Data (</a:t>
            </a:r>
            <a:r>
              <a:rPr lang="en-US" sz="5400" i="1" dirty="0">
                <a:solidFill>
                  <a:prstClr val="white"/>
                </a:solidFill>
                <a:latin typeface="Plus Jakarta Sans"/>
              </a:rPr>
              <a:t>SL)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/>
                <a:ea typeface="+mn-ea"/>
                <a:cs typeface="+mn-cs"/>
              </a:rPr>
              <a:t>What did we lear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8531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647AA-CAA0-BFAE-A7EB-6D5FB8F31B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3B9583-45CB-7008-9002-F1F37C3F85E6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sz="3200" b="1" dirty="0">
                <a:latin typeface="Aptos" panose="020B0004020202020204" pitchFamily="34" charset="0"/>
              </a:rPr>
              <a:t>Enrollment Data (Child MITS &amp; Adult MITS)</a:t>
            </a:r>
            <a:endParaRPr lang="en-SL" sz="3200" b="1" dirty="0">
              <a:latin typeface="Aptos" panose="020B0004020202020204" pitchFamily="34" charset="0"/>
            </a:endParaRPr>
          </a:p>
          <a:p>
            <a:endParaRPr lang="en-SL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42EF0AC-F6CA-2FA8-FC1F-036AD332ED50}"/>
              </a:ext>
            </a:extLst>
          </p:cNvPr>
          <p:cNvGraphicFramePr>
            <a:graphicFrameLocks noGrp="1"/>
          </p:cNvGraphicFramePr>
          <p:nvPr>
            <p:ph idx="11"/>
          </p:nvPr>
        </p:nvGraphicFramePr>
        <p:xfrm>
          <a:off x="6302375" y="1801813"/>
          <a:ext cx="5268913" cy="411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C56A632-74A9-751F-0246-678B004DE5A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08025" y="1801813"/>
          <a:ext cx="5181600" cy="411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240834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6A9269C-B589-7015-8066-EB1740D3A246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sz="3200" b="1" dirty="0">
                <a:latin typeface="Aptos" panose="020B0004020202020204" pitchFamily="34" charset="0"/>
              </a:rPr>
              <a:t>Enrollment Data (Child MITS &amp; Adult MITS)</a:t>
            </a:r>
            <a:endParaRPr lang="en-SL" sz="3200" b="1" dirty="0">
              <a:latin typeface="Aptos" panose="020B0004020202020204" pitchFamily="34" charset="0"/>
            </a:endParaRPr>
          </a:p>
          <a:p>
            <a:endParaRPr lang="en-SL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06F7819-6A0B-B388-1834-8318F0F41095}"/>
              </a:ext>
            </a:extLst>
          </p:cNvPr>
          <p:cNvGraphicFramePr>
            <a:graphicFrameLocks noGrp="1"/>
          </p:cNvGraphicFramePr>
          <p:nvPr>
            <p:ph idx="11"/>
          </p:nvPr>
        </p:nvGraphicFramePr>
        <p:xfrm>
          <a:off x="6302375" y="1801813"/>
          <a:ext cx="5268913" cy="411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7172C51-9A25-CF93-DF7E-EDB047B3645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08025" y="1801813"/>
          <a:ext cx="5181600" cy="411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Arc 5">
            <a:extLst>
              <a:ext uri="{FF2B5EF4-FFF2-40B4-BE49-F238E27FC236}">
                <a16:creationId xmlns:a16="http://schemas.microsoft.com/office/drawing/2014/main" id="{63F39F15-93BB-EF56-8D62-B2AF6FB4FA9E}"/>
              </a:ext>
            </a:extLst>
          </p:cNvPr>
          <p:cNvSpPr>
            <a:spLocks noGrp="1"/>
          </p:cNvSpPr>
          <p:nvPr/>
        </p:nvSpPr>
        <p:spPr>
          <a:xfrm>
            <a:off x="7148622" y="4811232"/>
            <a:ext cx="2020186" cy="893135"/>
          </a:xfrm>
          <a:custGeom>
            <a:avLst/>
            <a:gdLst>
              <a:gd name="connsiteX0" fmla="*/ 2419039 w 4838078"/>
              <a:gd name="connsiteY0" fmla="*/ 0 h 2690668"/>
              <a:gd name="connsiteX1" fmla="*/ 4836775 w 4838078"/>
              <a:gd name="connsiteY1" fmla="*/ 1301181 h 2690668"/>
              <a:gd name="connsiteX2" fmla="*/ 2468182 w 4838078"/>
              <a:gd name="connsiteY2" fmla="*/ 2690390 h 2690668"/>
              <a:gd name="connsiteX3" fmla="*/ 11673 w 4838078"/>
              <a:gd name="connsiteY3" fmla="*/ 1477341 h 2690668"/>
              <a:gd name="connsiteX4" fmla="*/ 2320681 w 4838078"/>
              <a:gd name="connsiteY4" fmla="*/ 1111 h 2690668"/>
              <a:gd name="connsiteX5" fmla="*/ 2419039 w 4838078"/>
              <a:gd name="connsiteY5" fmla="*/ 1345334 h 2690668"/>
              <a:gd name="connsiteX6" fmla="*/ 2419039 w 4838078"/>
              <a:gd name="connsiteY6" fmla="*/ 0 h 2690668"/>
              <a:gd name="connsiteX0" fmla="*/ 2419039 w 4838078"/>
              <a:gd name="connsiteY0" fmla="*/ 0 h 2690668"/>
              <a:gd name="connsiteX1" fmla="*/ 4836775 w 4838078"/>
              <a:gd name="connsiteY1" fmla="*/ 1301181 h 2690668"/>
              <a:gd name="connsiteX2" fmla="*/ 2468182 w 4838078"/>
              <a:gd name="connsiteY2" fmla="*/ 2690390 h 2690668"/>
              <a:gd name="connsiteX3" fmla="*/ 11673 w 4838078"/>
              <a:gd name="connsiteY3" fmla="*/ 1477341 h 2690668"/>
              <a:gd name="connsiteX4" fmla="*/ 2320681 w 4838078"/>
              <a:gd name="connsiteY4" fmla="*/ 1111 h 2690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8078" h="2690668" stroke="0" extrusionOk="0">
                <a:moveTo>
                  <a:pt x="2419039" y="0"/>
                </a:moveTo>
                <a:cubicBezTo>
                  <a:pt x="3646059" y="-48157"/>
                  <a:pt x="4686538" y="616064"/>
                  <a:pt x="4836775" y="1301181"/>
                </a:cubicBezTo>
                <a:cubicBezTo>
                  <a:pt x="4972678" y="2069663"/>
                  <a:pt x="3741086" y="2677536"/>
                  <a:pt x="2468182" y="2690390"/>
                </a:cubicBezTo>
                <a:cubicBezTo>
                  <a:pt x="1116347" y="2791737"/>
                  <a:pt x="125915" y="2229825"/>
                  <a:pt x="11673" y="1477341"/>
                </a:cubicBezTo>
                <a:cubicBezTo>
                  <a:pt x="-255241" y="636243"/>
                  <a:pt x="1051422" y="90061"/>
                  <a:pt x="2320681" y="1111"/>
                </a:cubicBezTo>
                <a:cubicBezTo>
                  <a:pt x="2444288" y="532799"/>
                  <a:pt x="2478530" y="722508"/>
                  <a:pt x="2419039" y="1345334"/>
                </a:cubicBezTo>
                <a:cubicBezTo>
                  <a:pt x="2485613" y="861870"/>
                  <a:pt x="2493654" y="427306"/>
                  <a:pt x="2419039" y="0"/>
                </a:cubicBezTo>
                <a:close/>
              </a:path>
              <a:path w="4838078" h="2690668" fill="none" extrusionOk="0">
                <a:moveTo>
                  <a:pt x="2419039" y="0"/>
                </a:moveTo>
                <a:cubicBezTo>
                  <a:pt x="3783129" y="90875"/>
                  <a:pt x="4879416" y="680451"/>
                  <a:pt x="4836775" y="1301181"/>
                </a:cubicBezTo>
                <a:cubicBezTo>
                  <a:pt x="5050645" y="1901841"/>
                  <a:pt x="3861042" y="2462044"/>
                  <a:pt x="2468182" y="2690390"/>
                </a:cubicBezTo>
                <a:cubicBezTo>
                  <a:pt x="1084746" y="2724491"/>
                  <a:pt x="33362" y="2105782"/>
                  <a:pt x="11673" y="1477341"/>
                </a:cubicBezTo>
                <a:cubicBezTo>
                  <a:pt x="-230255" y="700129"/>
                  <a:pt x="894742" y="-41508"/>
                  <a:pt x="2320681" y="1111"/>
                </a:cubicBezTo>
              </a:path>
              <a:path w="4838078" h="2690668" fill="none" stroke="0" extrusionOk="0">
                <a:moveTo>
                  <a:pt x="2419039" y="0"/>
                </a:moveTo>
                <a:cubicBezTo>
                  <a:pt x="3714935" y="-87701"/>
                  <a:pt x="4764533" y="616625"/>
                  <a:pt x="4836775" y="1301181"/>
                </a:cubicBezTo>
                <a:cubicBezTo>
                  <a:pt x="4907552" y="2065224"/>
                  <a:pt x="3904387" y="2696477"/>
                  <a:pt x="2468182" y="2690390"/>
                </a:cubicBezTo>
                <a:cubicBezTo>
                  <a:pt x="1151916" y="2695990"/>
                  <a:pt x="233932" y="2256742"/>
                  <a:pt x="11673" y="1477341"/>
                </a:cubicBezTo>
                <a:cubicBezTo>
                  <a:pt x="-63884" y="798283"/>
                  <a:pt x="938502" y="109450"/>
                  <a:pt x="2320681" y="1111"/>
                </a:cubicBezTo>
              </a:path>
            </a:pathLst>
          </a:custGeom>
          <a:ln w="28575" cap="rnd">
            <a:solidFill>
              <a:srgbClr val="FF0000">
                <a:alpha val="63000"/>
              </a:srgb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SL" dirty="0"/>
          </a:p>
        </p:txBody>
      </p:sp>
    </p:spTree>
    <p:extLst>
      <p:ext uri="{BB962C8B-B14F-4D97-AF65-F5344CB8AC3E}">
        <p14:creationId xmlns:p14="http://schemas.microsoft.com/office/powerpoint/2010/main" val="31587873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F7E4DF-C632-998E-16F7-AE1E5179A1A5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295015" y="767513"/>
            <a:ext cx="6896986" cy="819371"/>
          </a:xfrm>
        </p:spPr>
        <p:txBody>
          <a:bodyPr/>
          <a:lstStyle/>
          <a:p>
            <a:r>
              <a:rPr lang="en-US" sz="3200" b="1" dirty="0">
                <a:latin typeface="Aptos" panose="020B0004020202020204" pitchFamily="34" charset="0"/>
              </a:rPr>
              <a:t>Proportion of malaria positive cases found to be in the causal chain</a:t>
            </a:r>
            <a:endParaRPr lang="en-SL" sz="3200" b="1" dirty="0">
              <a:latin typeface="Aptos" panose="020B0004020202020204" pitchFamily="34" charset="0"/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79708FDB-910D-D0B0-CE55-5DCD0725CD8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08025" y="1801813"/>
          <a:ext cx="5181600" cy="411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86CA0A6-6AC2-CC21-3554-5868D36A771F}"/>
              </a:ext>
            </a:extLst>
          </p:cNvPr>
          <p:cNvGraphicFramePr>
            <a:graphicFrameLocks noGrp="1"/>
          </p:cNvGraphicFramePr>
          <p:nvPr>
            <p:ph idx="11"/>
          </p:nvPr>
        </p:nvGraphicFramePr>
        <p:xfrm>
          <a:off x="6302375" y="1801813"/>
          <a:ext cx="5268913" cy="411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50825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9E35EF-AD08-2755-35B5-B0856E0692EF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375564" y="661183"/>
            <a:ext cx="6163294" cy="819371"/>
          </a:xfrm>
        </p:spPr>
        <p:txBody>
          <a:bodyPr/>
          <a:lstStyle/>
          <a:p>
            <a:r>
              <a:rPr lang="en-US" sz="3200" b="1" dirty="0">
                <a:latin typeface="Aptos" panose="020B0004020202020204" pitchFamily="34" charset="0"/>
              </a:rPr>
              <a:t>Overall Mortality From Malaria</a:t>
            </a:r>
            <a:endParaRPr lang="en-SL" sz="3200" b="1" dirty="0">
              <a:latin typeface="Aptos" panose="020B00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86DD3-8BE7-9828-F89D-49108CE0997E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SL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F417FA2-41FE-BB22-D85E-0B7111FDDAF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08025" y="1844345"/>
          <a:ext cx="5181600" cy="411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C7B0F36-6FE8-8E5C-0ADF-4F48E888A7F4}"/>
              </a:ext>
            </a:extLst>
          </p:cNvPr>
          <p:cNvGraphicFramePr>
            <a:graphicFrameLocks/>
          </p:cNvGraphicFramePr>
          <p:nvPr/>
        </p:nvGraphicFramePr>
        <p:xfrm>
          <a:off x="5759904" y="1766492"/>
          <a:ext cx="5245100" cy="4440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19028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D41EBB-C04C-8001-7D5D-1C340CD48065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mary &amp; Conclusion</a:t>
            </a:r>
            <a:endParaRPr kumimoji="0" lang="en-SL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3DD641-5C4B-3796-7A37-0D89293974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study was able to cement the fact that Malaria as a COD in adults is not as common as suggested by the VA study but does occur within the context of risk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</a:rPr>
              <a:t>factors (HIV, cancer &amp; other immunosuppressive diseases, co-existing chronic disease, age </a:t>
            </a:r>
            <a:r>
              <a:rPr lang="en-US" sz="2400" dirty="0" err="1">
                <a:solidFill>
                  <a:srgbClr val="000000"/>
                </a:solidFill>
                <a:latin typeface="Calibri" panose="020F0502020204030204"/>
              </a:rPr>
              <a:t>e.t.c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</a:rPr>
              <a:t>.)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​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DB3600-839F-F42B-7D0D-6EEC4D5888E0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marL="457200" indent="-457200" fontAlgn="base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igning a malaria COD in adults is a multipronged approach</a:t>
            </a:r>
            <a:endParaRPr lang="en-US" sz="2400" b="0" i="0" u="none" strike="noStrike" dirty="0">
              <a:solidFill>
                <a:srgbClr val="000000"/>
              </a:solidFill>
              <a:effectLst/>
            </a:endParaRPr>
          </a:p>
          <a:p>
            <a:pPr marL="457200" indent="-457200" fontAlgn="base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0" i="0" u="none" strike="noStrike" dirty="0">
                <a:solidFill>
                  <a:srgbClr val="000000"/>
                </a:solidFill>
                <a:effectLst/>
              </a:rPr>
              <a:t>The algorithm that CHAMPS has developed, would be a good resource for future cause of death attribution</a:t>
            </a:r>
          </a:p>
          <a:p>
            <a:pPr marL="457200" indent="-457200" fontAlgn="base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ea typeface="Malgun Gothic" panose="020B0503020000020004" pitchFamily="34" charset="-127"/>
              </a:rPr>
              <a:t>Plans are in place for v</a:t>
            </a:r>
            <a:r>
              <a:rPr lang="en-US" sz="2400" dirty="0">
                <a:effectLst/>
                <a:ea typeface="Malgun Gothic" panose="020B0503020000020004" pitchFamily="34" charset="-127"/>
              </a:rPr>
              <a:t>erbal autopsy physician coding</a:t>
            </a:r>
            <a:r>
              <a:rPr lang="en-US" sz="2400" dirty="0">
                <a:solidFill>
                  <a:srgbClr val="FF0000"/>
                </a:solidFill>
                <a:effectLst/>
                <a:ea typeface="Malgun Gothic" panose="020B0503020000020004" pitchFamily="34" charset="-127"/>
              </a:rPr>
              <a:t> </a:t>
            </a:r>
            <a:r>
              <a:rPr lang="en-US" sz="2400" dirty="0">
                <a:effectLst/>
                <a:ea typeface="Malgun Gothic" panose="020B0503020000020004" pitchFamily="34" charset="-127"/>
              </a:rPr>
              <a:t>to do an internal comparison of the CHAMPS cases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</p:spTree>
    <p:extLst>
      <p:ext uri="{BB962C8B-B14F-4D97-AF65-F5344CB8AC3E}">
        <p14:creationId xmlns:p14="http://schemas.microsoft.com/office/powerpoint/2010/main" val="22991341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3EEF8A-CA84-BD05-EAE0-A34C46E0EB5E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lusion contd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SL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28A802-868A-E277-4707-5CE9634220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latin typeface="Calibri" panose="020F0502020204030204"/>
              </a:rPr>
              <a:t>Our s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dy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nstrates how CHAMPS sites are built to be able to pivot quickly, taking advantage of existing infrastructure (equipment, skilled manpower) </a:t>
            </a: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to take on studies to answer challenging questions in challenging context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in a short timeframe.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​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D874C1-88C3-4377-D519-AF6BFBA904D2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 lIns="91440" tIns="45720" rIns="91440" bIns="45720" anchor="t"/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ture possibilities using the CHAMPS platform: With introduction of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malaria vaccine in Sierra Leone and Kenya, it could be possible to assess the impact of the vaccine over the coming months and years</a:t>
            </a:r>
            <a:r>
              <a:rPr lang="en-US" sz="2800" dirty="0">
                <a:latin typeface="Calibri" panose="020F0502020204030204"/>
              </a:rPr>
              <a:t>.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SL" sz="2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</p:spTree>
    <p:extLst>
      <p:ext uri="{BB962C8B-B14F-4D97-AF65-F5344CB8AC3E}">
        <p14:creationId xmlns:p14="http://schemas.microsoft.com/office/powerpoint/2010/main" val="8087350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171B76-AD18-7127-686F-D94EAA2BAC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8721D8B-8E5A-F6AA-DD51-83689FC91B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55" y="2011732"/>
            <a:ext cx="4256193" cy="1950224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95E99E1-69F0-FBAA-97F4-F704BE3AA7C6}"/>
              </a:ext>
            </a:extLst>
          </p:cNvPr>
          <p:cNvSpPr/>
          <p:nvPr/>
        </p:nvSpPr>
        <p:spPr>
          <a:xfrm>
            <a:off x="6195675" y="5416346"/>
            <a:ext cx="3831196" cy="391120"/>
          </a:xfrm>
          <a:prstGeom prst="roundRect">
            <a:avLst/>
          </a:prstGeom>
          <a:solidFill>
            <a:srgbClr val="57D40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547;p63">
            <a:extLst>
              <a:ext uri="{FF2B5EF4-FFF2-40B4-BE49-F238E27FC236}">
                <a16:creationId xmlns:a16="http://schemas.microsoft.com/office/drawing/2014/main" id="{1739F1D0-625B-2B36-68CB-6BC1599EFE0D}"/>
              </a:ext>
            </a:extLst>
          </p:cNvPr>
          <p:cNvSpPr txBox="1"/>
          <p:nvPr/>
        </p:nvSpPr>
        <p:spPr>
          <a:xfrm>
            <a:off x="900405" y="4213709"/>
            <a:ext cx="5910124" cy="1300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id" sz="8000" b="1" i="1" spc="-150">
                <a:solidFill>
                  <a:srgbClr val="4A9C2D"/>
                </a:solidFill>
                <a:latin typeface="Times New Roman" panose="02020603050405020304" pitchFamily="18" charset="0"/>
                <a:ea typeface="Bricolage Grotesque Medium"/>
                <a:cs typeface="Times New Roman" panose="02020603050405020304" pitchFamily="18" charset="0"/>
                <a:sym typeface="Bricolage Grotesque Medium"/>
              </a:rPr>
              <a:t>Thank You</a:t>
            </a:r>
            <a:r>
              <a:rPr lang="en-US" sz="8000" b="1" i="1" spc="-150">
                <a:solidFill>
                  <a:srgbClr val="4A9C2D"/>
                </a:solidFill>
                <a:latin typeface="Times New Roman" panose="02020603050405020304" pitchFamily="18" charset="0"/>
                <a:ea typeface="Bricolage Grotesque Medium"/>
                <a:cs typeface="Times New Roman" panose="02020603050405020304" pitchFamily="18" charset="0"/>
                <a:sym typeface="Bricolage Grotesque Medium"/>
              </a:rPr>
              <a:t>!</a:t>
            </a:r>
            <a:endParaRPr sz="8000" b="1" i="1" spc="-150">
              <a:solidFill>
                <a:srgbClr val="4A9C2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4C9EA4-1546-6DCB-784B-61B3AC031EE2}"/>
              </a:ext>
            </a:extLst>
          </p:cNvPr>
          <p:cNvSpPr txBox="1"/>
          <p:nvPr/>
        </p:nvSpPr>
        <p:spPr>
          <a:xfrm>
            <a:off x="6435137" y="5405181"/>
            <a:ext cx="33522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hampshealth.or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655E17-754B-89A4-51D1-8B5F0C7A8187}"/>
              </a:ext>
            </a:extLst>
          </p:cNvPr>
          <p:cNvSpPr txBox="1"/>
          <p:nvPr/>
        </p:nvSpPr>
        <p:spPr>
          <a:xfrm>
            <a:off x="750189" y="5514035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4A9C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info@champshealth.org </a:t>
            </a:r>
          </a:p>
        </p:txBody>
      </p:sp>
      <p:pic>
        <p:nvPicPr>
          <p:cNvPr id="14" name="Picture Placeholder 13" descr="A child holding a stalk of celery&#10;&#10;AI-generated content may be incorrect.">
            <a:extLst>
              <a:ext uri="{FF2B5EF4-FFF2-40B4-BE49-F238E27FC236}">
                <a16:creationId xmlns:a16="http://schemas.microsoft.com/office/drawing/2014/main" id="{07A339FA-5781-1E25-25EE-011DBA2F98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61" r="1676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89955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4AE06-11DE-A8B6-04E2-D0B0B1CA8E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C255F4-8AA9-837B-C890-064E53889FCC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320582" y="768854"/>
            <a:ext cx="6163294" cy="819371"/>
          </a:xfrm>
        </p:spPr>
        <p:txBody>
          <a:bodyPr/>
          <a:lstStyle/>
          <a:p>
            <a:r>
              <a:rPr lang="en-US" sz="4800" b="1" dirty="0"/>
              <a:t>What is know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AD420E-C548-431A-858D-B9CA505466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ally in 202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9 million malaria cases 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8 000 malaria deaths in 85 countries.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frican Region was home to 94% of malaria cases and 95% of malaria deaths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ldren under 5 accounted for about 80% of all malaria deaths in the Regio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WHO World malaria report 2023). </a:t>
            </a:r>
          </a:p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2C25839-FC83-8BD0-BC95-9767D073B5BE}"/>
              </a:ext>
            </a:extLst>
          </p:cNvPr>
          <p:cNvSpPr txBox="1">
            <a:spLocks/>
          </p:cNvSpPr>
          <p:nvPr/>
        </p:nvSpPr>
        <p:spPr>
          <a:xfrm>
            <a:off x="708124" y="665018"/>
            <a:ext cx="3224393" cy="1027044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MALARI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D787BA-4034-A61B-E7D6-228D106164C3}"/>
              </a:ext>
            </a:extLst>
          </p:cNvPr>
          <p:cNvGrpSpPr/>
          <p:nvPr/>
        </p:nvGrpSpPr>
        <p:grpSpPr>
          <a:xfrm>
            <a:off x="6028706" y="1588225"/>
            <a:ext cx="6163294" cy="4876370"/>
            <a:chOff x="2202793" y="1099265"/>
            <a:chExt cx="9444972" cy="6373059"/>
          </a:xfrm>
        </p:grpSpPr>
        <p:sp>
          <p:nvSpPr>
            <p:cNvPr id="3" name="Freeform 441">
              <a:extLst>
                <a:ext uri="{FF2B5EF4-FFF2-40B4-BE49-F238E27FC236}">
                  <a16:creationId xmlns:a16="http://schemas.microsoft.com/office/drawing/2014/main" id="{5A844612-6CA9-980D-3EE9-513C5559E72B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793382" y="3537680"/>
              <a:ext cx="750899" cy="547558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" name="Freeform 441">
              <a:extLst>
                <a:ext uri="{FF2B5EF4-FFF2-40B4-BE49-F238E27FC236}">
                  <a16:creationId xmlns:a16="http://schemas.microsoft.com/office/drawing/2014/main" id="{EC711190-D2D5-5D6B-C735-DDF9B767AE0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5696638" y="2772891"/>
              <a:ext cx="1004893" cy="960468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BF3D360C-B8EE-97A9-49A8-725D3C66411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7998147" y="1724694"/>
              <a:ext cx="845276" cy="642896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72808D7-329D-0A20-6365-EB36A9957D6A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gray">
            <a:xfrm>
              <a:off x="6979883" y="1529029"/>
              <a:ext cx="188713" cy="167712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8D50E42E-86A0-2CF6-907E-760FE1929DB9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7058513" y="1420717"/>
              <a:ext cx="404945" cy="317954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45B1394E-9A10-564E-FD20-FDA9CB92DFE0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gray">
            <a:xfrm>
              <a:off x="7388761" y="2577229"/>
              <a:ext cx="31453" cy="4192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BE412218-51A9-A727-7FE7-B6B5E8EB381D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gray">
            <a:xfrm>
              <a:off x="9629722" y="2549279"/>
              <a:ext cx="283070" cy="391329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CB70FEF4-B388-BB8F-EAD9-08ED5DCFDC5E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9676899" y="2437469"/>
              <a:ext cx="204437" cy="111807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71CC1CE1-B924-856B-E6E6-BA3EDB7958C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6303663" y="1934333"/>
              <a:ext cx="141535" cy="69880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8ECBA746-634D-6774-F9FC-AAC9B01A3323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6429470" y="2213855"/>
              <a:ext cx="15725" cy="2795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B956B043-9651-A475-0BEB-664F3FCA025A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6775443" y="1364812"/>
              <a:ext cx="393150" cy="178192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0DBD4B0A-E42A-D9A9-3784-BBB13011F32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8458309" y="1931667"/>
              <a:ext cx="1744066" cy="1925192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92E5E8A-C4E6-C47D-C288-6D92144FE594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gray">
            <a:xfrm>
              <a:off x="7011336" y="1640836"/>
              <a:ext cx="1144068" cy="1020247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9A91A438-2CE8-1F93-1AED-078248EACAD0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6696813" y="1808548"/>
              <a:ext cx="581863" cy="573016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12332F9-2023-A65E-86E5-BAB6D8B1593A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6429470" y="2102045"/>
              <a:ext cx="78630" cy="251567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2" name="Freeform 22">
              <a:extLst>
                <a:ext uri="{FF2B5EF4-FFF2-40B4-BE49-F238E27FC236}">
                  <a16:creationId xmlns:a16="http://schemas.microsoft.com/office/drawing/2014/main" id="{88D693DB-6AF0-1FC9-B546-0666EB0BBC16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6476650" y="2088070"/>
              <a:ext cx="251618" cy="29349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E985BAA0-3C77-E64C-DDB3-AF3AC4AAAC97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gray">
            <a:xfrm>
              <a:off x="7168596" y="2311685"/>
              <a:ext cx="110083" cy="111807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AE884101-DB51-F049-E166-036AA631BF03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8517107" y="1392765"/>
              <a:ext cx="656563" cy="290002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A75537DB-DEC1-7DBA-132F-78A98799C015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6476650" y="2004213"/>
              <a:ext cx="94358" cy="111807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7373FCE4-686C-0D74-8A9D-A21813F2776C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8737269" y="3831579"/>
              <a:ext cx="31453" cy="4891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FD94D8C0-E333-8959-67D7-C8AA294C5CE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9157942" y="2297710"/>
              <a:ext cx="487508" cy="279519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4FA50523-F64F-2DC1-0697-4EB2E2B154E1}"/>
                </a:ext>
              </a:extLst>
            </p:cNvPr>
            <p:cNvSpPr>
              <a:spLocks noEditPoints="1"/>
            </p:cNvSpPr>
            <p:nvPr>
              <p:custDataLst>
                <p:tags r:id="rId22"/>
              </p:custDataLst>
            </p:nvPr>
          </p:nvSpPr>
          <p:spPr bwMode="gray">
            <a:xfrm>
              <a:off x="7479186" y="2577229"/>
              <a:ext cx="471783" cy="639401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9" name="Freeform 32">
              <a:extLst>
                <a:ext uri="{FF2B5EF4-FFF2-40B4-BE49-F238E27FC236}">
                  <a16:creationId xmlns:a16="http://schemas.microsoft.com/office/drawing/2014/main" id="{FE0661FD-F99B-53B9-80D1-4EA212504039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8013871" y="1836501"/>
              <a:ext cx="1002536" cy="908440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0361D225-5D4D-58ED-36A8-E306420EF0EA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7420214" y="2591207"/>
              <a:ext cx="43245" cy="97832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1" name="Freeform 39">
              <a:extLst>
                <a:ext uri="{FF2B5EF4-FFF2-40B4-BE49-F238E27FC236}">
                  <a16:creationId xmlns:a16="http://schemas.microsoft.com/office/drawing/2014/main" id="{4C932A47-6878-CC8B-A3B2-558E165737D9}"/>
                </a:ext>
              </a:extLst>
            </p:cNvPr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6445198" y="2171925"/>
              <a:ext cx="1254150" cy="1058682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2" name="Freeform 43">
              <a:extLst>
                <a:ext uri="{FF2B5EF4-FFF2-40B4-BE49-F238E27FC236}">
                  <a16:creationId xmlns:a16="http://schemas.microsoft.com/office/drawing/2014/main" id="{0BFC0190-9BC2-9D93-1704-4B444CD22429}"/>
                </a:ext>
              </a:extLst>
            </p:cNvPr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gray">
            <a:xfrm>
              <a:off x="9126489" y="3649889"/>
              <a:ext cx="141535" cy="251567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3" name="Freeform 44">
              <a:extLst>
                <a:ext uri="{FF2B5EF4-FFF2-40B4-BE49-F238E27FC236}">
                  <a16:creationId xmlns:a16="http://schemas.microsoft.com/office/drawing/2014/main" id="{6A7EDD77-9993-0635-B6D3-FBB9B9183294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6508100" y="1808548"/>
              <a:ext cx="408878" cy="349399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4" name="Freeform 45">
              <a:extLst>
                <a:ext uri="{FF2B5EF4-FFF2-40B4-BE49-F238E27FC236}">
                  <a16:creationId xmlns:a16="http://schemas.microsoft.com/office/drawing/2014/main" id="{692CE435-E4C9-CB44-AA7C-F7617C20221B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8407024" y="1543007"/>
              <a:ext cx="452122" cy="321449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5" name="Freeform 48">
              <a:extLst>
                <a:ext uri="{FF2B5EF4-FFF2-40B4-BE49-F238E27FC236}">
                  <a16:creationId xmlns:a16="http://schemas.microsoft.com/office/drawing/2014/main" id="{9DA38B03-189D-316D-4036-F9E7A71254FE}"/>
                </a:ext>
              </a:extLst>
            </p:cNvPr>
            <p:cNvSpPr>
              <a:spLocks noEditPoints="1"/>
            </p:cNvSpPr>
            <p:nvPr>
              <p:custDataLst>
                <p:tags r:id="rId29"/>
              </p:custDataLst>
            </p:nvPr>
          </p:nvSpPr>
          <p:spPr bwMode="gray">
            <a:xfrm>
              <a:off x="5914445" y="1459149"/>
              <a:ext cx="1144068" cy="461209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4BC53516-6DF6-EB7B-8144-217B60627FA0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7435938" y="1420717"/>
              <a:ext cx="923906" cy="541568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8B25E421-CCD8-F2D8-AB38-6E5016984855}"/>
                </a:ext>
              </a:extLst>
            </p:cNvPr>
            <p:cNvSpPr>
              <a:spLocks noEditPoints="1"/>
            </p:cNvSpPr>
            <p:nvPr>
              <p:custDataLst>
                <p:tags r:id="rId31"/>
              </p:custDataLst>
            </p:nvPr>
          </p:nvSpPr>
          <p:spPr bwMode="gray">
            <a:xfrm>
              <a:off x="7463461" y="2591207"/>
              <a:ext cx="283070" cy="223617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8" name="Freeform 51">
              <a:extLst>
                <a:ext uri="{FF2B5EF4-FFF2-40B4-BE49-F238E27FC236}">
                  <a16:creationId xmlns:a16="http://schemas.microsoft.com/office/drawing/2014/main" id="{D11B3A0B-3561-6B88-85E3-972E290102D2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7730804" y="1211078"/>
              <a:ext cx="1022193" cy="611448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9" name="Freeform 53">
              <a:extLst>
                <a:ext uri="{FF2B5EF4-FFF2-40B4-BE49-F238E27FC236}">
                  <a16:creationId xmlns:a16="http://schemas.microsoft.com/office/drawing/2014/main" id="{20D67BE5-FF92-92F7-18E5-FF2D9B399A24}"/>
                </a:ext>
              </a:extLst>
            </p:cNvPr>
            <p:cNvSpPr>
              <a:spLocks noEditPoints="1"/>
            </p:cNvSpPr>
            <p:nvPr>
              <p:custDataLst>
                <p:tags r:id="rId33"/>
              </p:custDataLst>
            </p:nvPr>
          </p:nvSpPr>
          <p:spPr bwMode="gray">
            <a:xfrm>
              <a:off x="6460923" y="2143972"/>
              <a:ext cx="47177" cy="83855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0" name="Freeform 54">
              <a:extLst>
                <a:ext uri="{FF2B5EF4-FFF2-40B4-BE49-F238E27FC236}">
                  <a16:creationId xmlns:a16="http://schemas.microsoft.com/office/drawing/2014/main" id="{B3276D7B-9B2F-D52C-EF99-38ABCC889695}"/>
                </a:ext>
              </a:extLst>
            </p:cNvPr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6916978" y="3062898"/>
              <a:ext cx="719465" cy="447231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1" name="Freeform 83">
              <a:extLst>
                <a:ext uri="{FF2B5EF4-FFF2-40B4-BE49-F238E27FC236}">
                  <a16:creationId xmlns:a16="http://schemas.microsoft.com/office/drawing/2014/main" id="{E06A3CED-974E-035E-9DE0-5BCC06C064BE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5725733" y="1308907"/>
              <a:ext cx="373492" cy="220122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2" name="Freeform 92">
              <a:extLst>
                <a:ext uri="{FF2B5EF4-FFF2-40B4-BE49-F238E27FC236}">
                  <a16:creationId xmlns:a16="http://schemas.microsoft.com/office/drawing/2014/main" id="{CB8CC9C2-9FFE-A50F-CB20-36C46105F695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5568470" y="1487102"/>
              <a:ext cx="499300" cy="489161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3" name="Freeform 117">
              <a:extLst>
                <a:ext uri="{FF2B5EF4-FFF2-40B4-BE49-F238E27FC236}">
                  <a16:creationId xmlns:a16="http://schemas.microsoft.com/office/drawing/2014/main" id="{345995F4-DAC0-E1CB-B41F-AF6A8D0F4FF0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3873989" y="1822526"/>
              <a:ext cx="1222701" cy="1240369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4" name="Freeform 118">
              <a:extLst>
                <a:ext uri="{FF2B5EF4-FFF2-40B4-BE49-F238E27FC236}">
                  <a16:creationId xmlns:a16="http://schemas.microsoft.com/office/drawing/2014/main" id="{6B0CE4C1-47CA-52F0-9590-F9B4959CF92B}"/>
                </a:ext>
              </a:extLst>
            </p:cNvPr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gray">
            <a:xfrm>
              <a:off x="5096690" y="4568812"/>
              <a:ext cx="723398" cy="880488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5" name="Freeform 119">
              <a:extLst>
                <a:ext uri="{FF2B5EF4-FFF2-40B4-BE49-F238E27FC236}">
                  <a16:creationId xmlns:a16="http://schemas.microsoft.com/office/drawing/2014/main" id="{04623913-69D1-6993-E0CD-9B025CF60F1D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4440127" y="3482177"/>
              <a:ext cx="188713" cy="405304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6" name="Freeform 120">
              <a:extLst>
                <a:ext uri="{FF2B5EF4-FFF2-40B4-BE49-F238E27FC236}">
                  <a16:creationId xmlns:a16="http://schemas.microsoft.com/office/drawing/2014/main" id="{D2BBB8F7-89D5-3664-55B4-6C84CA4B988D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5584198" y="5435324"/>
              <a:ext cx="546480" cy="59747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7" name="Freeform 121">
              <a:extLst>
                <a:ext uri="{FF2B5EF4-FFF2-40B4-BE49-F238E27FC236}">
                  <a16:creationId xmlns:a16="http://schemas.microsoft.com/office/drawing/2014/main" id="{41525721-7CA7-940E-AB74-20107D342EA8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062701" y="3314465"/>
              <a:ext cx="471783" cy="363377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8" name="Freeform 122">
              <a:extLst>
                <a:ext uri="{FF2B5EF4-FFF2-40B4-BE49-F238E27FC236}">
                  <a16:creationId xmlns:a16="http://schemas.microsoft.com/office/drawing/2014/main" id="{C50F5B1F-07A0-4495-723B-E5D267463203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6114950" y="4432547"/>
              <a:ext cx="110083" cy="136265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9" name="Freeform 123">
              <a:extLst>
                <a:ext uri="{FF2B5EF4-FFF2-40B4-BE49-F238E27FC236}">
                  <a16:creationId xmlns:a16="http://schemas.microsoft.com/office/drawing/2014/main" id="{315B2F8F-A727-3EA8-0A03-710B91CA6755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4892249" y="3440249"/>
              <a:ext cx="471783" cy="740728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0" name="Freeform 124">
              <a:extLst>
                <a:ext uri="{FF2B5EF4-FFF2-40B4-BE49-F238E27FC236}">
                  <a16:creationId xmlns:a16="http://schemas.microsoft.com/office/drawing/2014/main" id="{B53DF3AB-8CD7-958C-2E00-C9E43BCD1F60}"/>
                </a:ext>
              </a:extLst>
            </p:cNvPr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gray">
            <a:xfrm>
              <a:off x="2887178" y="3174705"/>
              <a:ext cx="157260" cy="15373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1" name="Freeform 125">
              <a:extLst>
                <a:ext uri="{FF2B5EF4-FFF2-40B4-BE49-F238E27FC236}">
                  <a16:creationId xmlns:a16="http://schemas.microsoft.com/office/drawing/2014/main" id="{DE96E81A-9794-9D11-976E-1C7CE083C5AB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5253950" y="3580009"/>
              <a:ext cx="770575" cy="559041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0D45BD88-A2CB-F5C2-8622-A56A6DD26009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5191044" y="2772893"/>
              <a:ext cx="629043" cy="1030730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3" name="Freeform 127">
              <a:extLst>
                <a:ext uri="{FF2B5EF4-FFF2-40B4-BE49-F238E27FC236}">
                  <a16:creationId xmlns:a16="http://schemas.microsoft.com/office/drawing/2014/main" id="{0E5E3F2E-841E-565B-ABC3-C444E5CA0B89}"/>
                </a:ext>
              </a:extLst>
            </p:cNvPr>
            <p:cNvSpPr>
              <a:spLocks noEditPoints="1"/>
            </p:cNvSpPr>
            <p:nvPr>
              <p:custDataLst>
                <p:tags r:id="rId47"/>
              </p:custDataLst>
            </p:nvPr>
          </p:nvSpPr>
          <p:spPr bwMode="gray">
            <a:xfrm>
              <a:off x="6964155" y="5016043"/>
              <a:ext cx="78630" cy="5590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4" name="Freeform 128">
              <a:extLst>
                <a:ext uri="{FF2B5EF4-FFF2-40B4-BE49-F238E27FC236}">
                  <a16:creationId xmlns:a16="http://schemas.microsoft.com/office/drawing/2014/main" id="{87486F7B-D791-2803-61C1-8A29DEFDBB32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5049512" y="4041218"/>
              <a:ext cx="456055" cy="555546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5" name="Freeform 129">
              <a:extLst>
                <a:ext uri="{FF2B5EF4-FFF2-40B4-BE49-F238E27FC236}">
                  <a16:creationId xmlns:a16="http://schemas.microsoft.com/office/drawing/2014/main" id="{DAF6D3CD-B282-8887-67ED-7B7F3C61E371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5112414" y="3943386"/>
              <a:ext cx="1144068" cy="1198442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6" name="Freeform 130">
              <a:extLst>
                <a:ext uri="{FF2B5EF4-FFF2-40B4-BE49-F238E27FC236}">
                  <a16:creationId xmlns:a16="http://schemas.microsoft.com/office/drawing/2014/main" id="{8ED5E7DD-46E2-B930-DA07-A4C7C58BF9C4}"/>
                </a:ext>
              </a:extLst>
            </p:cNvPr>
            <p:cNvSpPr>
              <a:spLocks noEditPoints="1"/>
            </p:cNvSpPr>
            <p:nvPr>
              <p:custDataLst>
                <p:tags r:id="rId50"/>
              </p:custDataLst>
            </p:nvPr>
          </p:nvSpPr>
          <p:spPr bwMode="gray">
            <a:xfrm>
              <a:off x="3873989" y="3593987"/>
              <a:ext cx="377425" cy="419279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7" name="Freeform 131">
              <a:extLst>
                <a:ext uri="{FF2B5EF4-FFF2-40B4-BE49-F238E27FC236}">
                  <a16:creationId xmlns:a16="http://schemas.microsoft.com/office/drawing/2014/main" id="{8CDD5755-3315-D392-E284-72544A577C64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6869800" y="3468202"/>
              <a:ext cx="110083" cy="111807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8" name="Freeform 132">
              <a:extLst>
                <a:ext uri="{FF2B5EF4-FFF2-40B4-BE49-F238E27FC236}">
                  <a16:creationId xmlns:a16="http://schemas.microsoft.com/office/drawing/2014/main" id="{68479F82-6AB9-E08B-12A4-A26FC8C10248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5867265" y="2213855"/>
              <a:ext cx="719465" cy="642896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9" name="Freeform 133">
              <a:extLst>
                <a:ext uri="{FF2B5EF4-FFF2-40B4-BE49-F238E27FC236}">
                  <a16:creationId xmlns:a16="http://schemas.microsoft.com/office/drawing/2014/main" id="{4B9F6B1C-C279-B41B-F3E4-5094D07F0AA2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gray">
            <a:xfrm>
              <a:off x="4892249" y="4041218"/>
              <a:ext cx="172988" cy="181687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0" name="Freeform 134">
              <a:extLst>
                <a:ext uri="{FF2B5EF4-FFF2-40B4-BE49-F238E27FC236}">
                  <a16:creationId xmlns:a16="http://schemas.microsoft.com/office/drawing/2014/main" id="{9BB370D6-168A-453B-10BB-59B5CDE7FB6A}"/>
                </a:ext>
              </a:extLst>
            </p:cNvPr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gray">
            <a:xfrm>
              <a:off x="6555280" y="3118800"/>
              <a:ext cx="408878" cy="37735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1" name="Freeform 135">
              <a:extLst>
                <a:ext uri="{FF2B5EF4-FFF2-40B4-BE49-F238E27FC236}">
                  <a16:creationId xmlns:a16="http://schemas.microsoft.com/office/drawing/2014/main" id="{19E6550D-84FA-7F4D-EC5C-38B4A377AA76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6350840" y="3328442"/>
              <a:ext cx="896386" cy="740728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2" name="Freeform 136">
              <a:extLst>
                <a:ext uri="{FF2B5EF4-FFF2-40B4-BE49-F238E27FC236}">
                  <a16:creationId xmlns:a16="http://schemas.microsoft.com/office/drawing/2014/main" id="{8F253CF1-DF62-8A40-E0AA-166CBC782DCE}"/>
                </a:ext>
              </a:extLst>
            </p:cNvPr>
            <p:cNvSpPr>
              <a:spLocks noEditPoints="1"/>
            </p:cNvSpPr>
            <p:nvPr>
              <p:custDataLst>
                <p:tags r:id="rId56"/>
              </p:custDataLst>
            </p:nvPr>
          </p:nvSpPr>
          <p:spPr bwMode="gray">
            <a:xfrm>
              <a:off x="4907977" y="4139050"/>
              <a:ext cx="345973" cy="387834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3" name="Freeform 137">
              <a:extLst>
                <a:ext uri="{FF2B5EF4-FFF2-40B4-BE49-F238E27FC236}">
                  <a16:creationId xmlns:a16="http://schemas.microsoft.com/office/drawing/2014/main" id="{66EBD97E-178C-76BE-D1D9-EDCFBE0570A0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4204234" y="3566034"/>
              <a:ext cx="267343" cy="419279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4" name="Freeform 138">
              <a:extLst>
                <a:ext uri="{FF2B5EF4-FFF2-40B4-BE49-F238E27FC236}">
                  <a16:creationId xmlns:a16="http://schemas.microsoft.com/office/drawing/2014/main" id="{C418BEB6-F89A-F1AE-73A8-65D882749A2B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3496560" y="3468202"/>
              <a:ext cx="440330" cy="363377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5" name="Freeform 139">
              <a:extLst>
                <a:ext uri="{FF2B5EF4-FFF2-40B4-BE49-F238E27FC236}">
                  <a16:creationId xmlns:a16="http://schemas.microsoft.com/office/drawing/2014/main" id="{7B584433-F011-0562-D682-77DC15874BBD}"/>
                </a:ext>
              </a:extLst>
            </p:cNvPr>
            <p:cNvSpPr>
              <a:spLocks noEditPoints="1"/>
            </p:cNvSpPr>
            <p:nvPr>
              <p:custDataLst>
                <p:tags r:id="rId59"/>
              </p:custDataLst>
            </p:nvPr>
          </p:nvSpPr>
          <p:spPr bwMode="gray">
            <a:xfrm>
              <a:off x="3402206" y="3468202"/>
              <a:ext cx="172988" cy="111807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6" name="Freeform 140">
              <a:extLst>
                <a:ext uri="{FF2B5EF4-FFF2-40B4-BE49-F238E27FC236}">
                  <a16:creationId xmlns:a16="http://schemas.microsoft.com/office/drawing/2014/main" id="{8A76A53E-DD68-AAF2-9CB9-188AB0C0F98F}"/>
                </a:ext>
              </a:extLst>
            </p:cNvPr>
            <p:cNvSpPr>
              <a:spLocks noEditPoints="1"/>
            </p:cNvSpPr>
            <p:nvPr>
              <p:custDataLst>
                <p:tags r:id="rId60"/>
              </p:custDataLst>
            </p:nvPr>
          </p:nvSpPr>
          <p:spPr bwMode="gray">
            <a:xfrm>
              <a:off x="6413745" y="3985313"/>
              <a:ext cx="471783" cy="59747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7" name="Freeform 141">
              <a:extLst>
                <a:ext uri="{FF2B5EF4-FFF2-40B4-BE49-F238E27FC236}">
                  <a16:creationId xmlns:a16="http://schemas.microsoft.com/office/drawing/2014/main" id="{E394863D-1A97-E5FB-CEE2-FD866F025381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6008800" y="6144608"/>
              <a:ext cx="137602" cy="139760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8" name="Freeform 142">
              <a:extLst>
                <a:ext uri="{FF2B5EF4-FFF2-40B4-BE49-F238E27FC236}">
                  <a16:creationId xmlns:a16="http://schemas.microsoft.com/office/drawing/2014/main" id="{616D4E15-C0B6-7AFF-EBAC-C81040A8AA60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3701001" y="3733746"/>
              <a:ext cx="251618" cy="279519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B4B4B4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9" name="Freeform 143">
              <a:extLst>
                <a:ext uri="{FF2B5EF4-FFF2-40B4-BE49-F238E27FC236}">
                  <a16:creationId xmlns:a16="http://schemas.microsoft.com/office/drawing/2014/main" id="{81BAFC9C-4122-551F-02BA-A5E154A706D3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4939430" y="2102045"/>
              <a:ext cx="943563" cy="918920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0" name="Freeform 144">
              <a:extLst>
                <a:ext uri="{FF2B5EF4-FFF2-40B4-BE49-F238E27FC236}">
                  <a16:creationId xmlns:a16="http://schemas.microsoft.com/office/drawing/2014/main" id="{9B8D2A56-8EBD-CE7B-261B-7B9BDD2DCC4D}"/>
                </a:ext>
              </a:extLst>
            </p:cNvPr>
            <p:cNvSpPr>
              <a:spLocks noEditPoints="1"/>
            </p:cNvSpPr>
            <p:nvPr>
              <p:custDataLst>
                <p:tags r:id="rId64"/>
              </p:custDataLst>
            </p:nvPr>
          </p:nvSpPr>
          <p:spPr bwMode="gray">
            <a:xfrm>
              <a:off x="6964155" y="5043995"/>
              <a:ext cx="440330" cy="908440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1" name="Freeform 145">
              <a:extLst>
                <a:ext uri="{FF2B5EF4-FFF2-40B4-BE49-F238E27FC236}">
                  <a16:creationId xmlns:a16="http://schemas.microsoft.com/office/drawing/2014/main" id="{8D5DEFC0-78AF-A7AB-D0BA-0B5D5289F755}"/>
                </a:ext>
              </a:extLst>
            </p:cNvPr>
            <p:cNvSpPr>
              <a:spLocks noEditPoints="1"/>
            </p:cNvSpPr>
            <p:nvPr>
              <p:custDataLst>
                <p:tags r:id="rId65"/>
              </p:custDataLst>
            </p:nvPr>
          </p:nvSpPr>
          <p:spPr bwMode="gray">
            <a:xfrm>
              <a:off x="6335115" y="4890258"/>
              <a:ext cx="188713" cy="503136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2" name="Freeform 146">
              <a:extLst>
                <a:ext uri="{FF2B5EF4-FFF2-40B4-BE49-F238E27FC236}">
                  <a16:creationId xmlns:a16="http://schemas.microsoft.com/office/drawing/2014/main" id="{237E00A0-4B6C-8AA0-C5AF-79CCA65730C0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3669548" y="2661086"/>
              <a:ext cx="975016" cy="974825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3" name="Freeform 147">
              <a:extLst>
                <a:ext uri="{FF2B5EF4-FFF2-40B4-BE49-F238E27FC236}">
                  <a16:creationId xmlns:a16="http://schemas.microsoft.com/office/drawing/2014/main" id="{A149BE41-50B4-7B72-6A08-59CC848E1AE4}"/>
                </a:ext>
              </a:extLst>
            </p:cNvPr>
            <p:cNvSpPr>
              <a:spLocks noEditPoints="1"/>
            </p:cNvSpPr>
            <p:nvPr>
              <p:custDataLst>
                <p:tags r:id="rId67"/>
              </p:custDataLst>
            </p:nvPr>
          </p:nvSpPr>
          <p:spPr bwMode="gray">
            <a:xfrm>
              <a:off x="3370753" y="2507349"/>
              <a:ext cx="739126" cy="835065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4" name="Freeform 148">
              <a:extLst>
                <a:ext uri="{FF2B5EF4-FFF2-40B4-BE49-F238E27FC236}">
                  <a16:creationId xmlns:a16="http://schemas.microsoft.com/office/drawing/2014/main" id="{34E71657-9AF2-7E30-821E-F8D7574A7154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3606643" y="1906381"/>
              <a:ext cx="723398" cy="573016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5" name="Freeform 149">
              <a:extLst>
                <a:ext uri="{FF2B5EF4-FFF2-40B4-BE49-F238E27FC236}">
                  <a16:creationId xmlns:a16="http://schemas.microsoft.com/office/drawing/2014/main" id="{2BD7DB67-7434-2D61-97B5-7F7BF8D10E3E}"/>
                </a:ext>
              </a:extLst>
            </p:cNvPr>
            <p:cNvSpPr>
              <a:spLocks noEditPoints="1"/>
            </p:cNvSpPr>
            <p:nvPr>
              <p:custDataLst>
                <p:tags r:id="rId69"/>
              </p:custDataLst>
            </p:nvPr>
          </p:nvSpPr>
          <p:spPr bwMode="gray">
            <a:xfrm>
              <a:off x="6193580" y="4960138"/>
              <a:ext cx="629043" cy="1072657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6" name="Freeform 150">
              <a:extLst>
                <a:ext uri="{FF2B5EF4-FFF2-40B4-BE49-F238E27FC236}">
                  <a16:creationId xmlns:a16="http://schemas.microsoft.com/office/drawing/2014/main" id="{4B036E38-000B-FC98-34E6-106553355DA5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5080962" y="5379419"/>
              <a:ext cx="817756" cy="793138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7" name="Freeform 151">
              <a:extLst>
                <a:ext uri="{FF2B5EF4-FFF2-40B4-BE49-F238E27FC236}">
                  <a16:creationId xmlns:a16="http://schemas.microsoft.com/office/drawing/2014/main" id="{44C9B69A-ABA3-5613-0AB3-50E0CA5ACAD3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4408674" y="2758919"/>
              <a:ext cx="939630" cy="779160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8" name="Freeform 152">
              <a:extLst>
                <a:ext uri="{FF2B5EF4-FFF2-40B4-BE49-F238E27FC236}">
                  <a16:creationId xmlns:a16="http://schemas.microsoft.com/office/drawing/2014/main" id="{3F6EBBD0-576E-D66A-F80F-7699768D259D}"/>
                </a:ext>
              </a:extLst>
            </p:cNvPr>
            <p:cNvSpPr>
              <a:spLocks noEditPoints="1"/>
            </p:cNvSpPr>
            <p:nvPr>
              <p:custDataLst>
                <p:tags r:id="rId72"/>
              </p:custDataLst>
            </p:nvPr>
          </p:nvSpPr>
          <p:spPr bwMode="gray">
            <a:xfrm>
              <a:off x="4550206" y="3398322"/>
              <a:ext cx="719465" cy="614943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9" name="Freeform 153">
              <a:extLst>
                <a:ext uri="{FF2B5EF4-FFF2-40B4-BE49-F238E27FC236}">
                  <a16:creationId xmlns:a16="http://schemas.microsoft.com/office/drawing/2014/main" id="{2FC89346-B633-ABB4-B7F4-BFDC33DBF67A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6114950" y="4348690"/>
              <a:ext cx="110083" cy="111807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0" name="Freeform 154">
              <a:extLst>
                <a:ext uri="{FF2B5EF4-FFF2-40B4-BE49-F238E27FC236}">
                  <a16:creationId xmlns:a16="http://schemas.microsoft.com/office/drawing/2014/main" id="{C4885DF6-C3DC-F2B6-C603-466DCCCC8A1B}"/>
                </a:ext>
              </a:extLst>
            </p:cNvPr>
            <p:cNvSpPr>
              <a:spLocks noEditPoints="1"/>
            </p:cNvSpPr>
            <p:nvPr>
              <p:custDataLst>
                <p:tags r:id="rId74"/>
              </p:custDataLst>
            </p:nvPr>
          </p:nvSpPr>
          <p:spPr bwMode="gray">
            <a:xfrm>
              <a:off x="4782167" y="4180978"/>
              <a:ext cx="47177" cy="97832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1" name="Freeform 155">
              <a:extLst>
                <a:ext uri="{FF2B5EF4-FFF2-40B4-BE49-F238E27FC236}">
                  <a16:creationId xmlns:a16="http://schemas.microsoft.com/office/drawing/2014/main" id="{042EFE35-BAD2-7188-4AA0-4BFF1F18CCC0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3339300" y="3202658"/>
              <a:ext cx="377425" cy="29349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2" name="Freeform 156">
              <a:extLst>
                <a:ext uri="{FF2B5EF4-FFF2-40B4-BE49-F238E27FC236}">
                  <a16:creationId xmlns:a16="http://schemas.microsoft.com/office/drawing/2014/main" id="{12ECAEF4-D372-8030-5099-54F355D27D82}"/>
                </a:ext>
              </a:extLst>
            </p:cNvPr>
            <p:cNvSpPr>
              <a:spLocks noEditPoints="1"/>
            </p:cNvSpPr>
            <p:nvPr>
              <p:custDataLst>
                <p:tags r:id="rId76"/>
              </p:custDataLst>
            </p:nvPr>
          </p:nvSpPr>
          <p:spPr bwMode="gray">
            <a:xfrm>
              <a:off x="7137143" y="4568812"/>
              <a:ext cx="562205" cy="321449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3" name="Freeform 157">
              <a:extLst>
                <a:ext uri="{FF2B5EF4-FFF2-40B4-BE49-F238E27FC236}">
                  <a16:creationId xmlns:a16="http://schemas.microsoft.com/office/drawing/2014/main" id="{021500DC-CF1C-B115-399C-3E67CA94F618}"/>
                </a:ext>
              </a:extLst>
            </p:cNvPr>
            <p:cNvSpPr>
              <a:spLocks noEditPoints="1"/>
            </p:cNvSpPr>
            <p:nvPr>
              <p:custDataLst>
                <p:tags r:id="rId77"/>
              </p:custDataLst>
            </p:nvPr>
          </p:nvSpPr>
          <p:spPr bwMode="gray">
            <a:xfrm>
              <a:off x="3606643" y="3649889"/>
              <a:ext cx="172988" cy="195665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4" name="Freeform 158">
              <a:extLst>
                <a:ext uri="{FF2B5EF4-FFF2-40B4-BE49-F238E27FC236}">
                  <a16:creationId xmlns:a16="http://schemas.microsoft.com/office/drawing/2014/main" id="{6A723B45-578F-405F-F9E7-57CF3E6DC1A8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6838348" y="3510129"/>
              <a:ext cx="613315" cy="880488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5" name="Freeform 160">
              <a:extLst>
                <a:ext uri="{FF2B5EF4-FFF2-40B4-BE49-F238E27FC236}">
                  <a16:creationId xmlns:a16="http://schemas.microsoft.com/office/drawing/2014/main" id="{F0FFB5CA-AC3B-FBC7-053B-AD255214C7D6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6225033" y="5952436"/>
              <a:ext cx="78630" cy="108312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6" name="Freeform 161">
              <a:extLst>
                <a:ext uri="{FF2B5EF4-FFF2-40B4-BE49-F238E27FC236}">
                  <a16:creationId xmlns:a16="http://schemas.microsoft.com/office/drawing/2014/main" id="{DF48DEF0-4DC2-61A0-5177-BE0F22831C28}"/>
                </a:ext>
              </a:extLst>
            </p:cNvPr>
            <p:cNvSpPr>
              <a:spLocks noEditPoints="1"/>
            </p:cNvSpPr>
            <p:nvPr>
              <p:custDataLst>
                <p:tags r:id="rId80"/>
              </p:custDataLst>
            </p:nvPr>
          </p:nvSpPr>
          <p:spPr bwMode="gray">
            <a:xfrm>
              <a:off x="6130675" y="4348690"/>
              <a:ext cx="660496" cy="681328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7" name="Freeform 162">
              <a:extLst>
                <a:ext uri="{FF2B5EF4-FFF2-40B4-BE49-F238E27FC236}">
                  <a16:creationId xmlns:a16="http://schemas.microsoft.com/office/drawing/2014/main" id="{8295567C-5B7A-AED2-6D49-F7A97A332DAD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3386481" y="3398322"/>
              <a:ext cx="188713" cy="4192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8" name="Freeform 163">
              <a:extLst>
                <a:ext uri="{FF2B5EF4-FFF2-40B4-BE49-F238E27FC236}">
                  <a16:creationId xmlns:a16="http://schemas.microsoft.com/office/drawing/2014/main" id="{33BDA866-AFFD-84BC-AA4A-BC6E64975E45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4377221" y="3566034"/>
              <a:ext cx="125807" cy="33542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9" name="Freeform 164">
              <a:extLst>
                <a:ext uri="{FF2B5EF4-FFF2-40B4-BE49-F238E27FC236}">
                  <a16:creationId xmlns:a16="http://schemas.microsoft.com/office/drawing/2014/main" id="{610951FF-EBC7-8D3F-E0F2-DF9962F5DBCE}"/>
                </a:ext>
              </a:extLst>
            </p:cNvPr>
            <p:cNvSpPr>
              <a:spLocks noEditPoints="1"/>
            </p:cNvSpPr>
            <p:nvPr>
              <p:custDataLst>
                <p:tags r:id="rId83"/>
              </p:custDataLst>
            </p:nvPr>
          </p:nvSpPr>
          <p:spPr bwMode="gray">
            <a:xfrm>
              <a:off x="4829347" y="1808548"/>
              <a:ext cx="251618" cy="503136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0" name="Freeform 165">
              <a:extLst>
                <a:ext uri="{FF2B5EF4-FFF2-40B4-BE49-F238E27FC236}">
                  <a16:creationId xmlns:a16="http://schemas.microsoft.com/office/drawing/2014/main" id="{11019B48-9C5D-EE02-3826-9157EF73AB9F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6146403" y="4013265"/>
              <a:ext cx="330248" cy="363377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1" name="Freeform 166">
              <a:extLst>
                <a:ext uri="{FF2B5EF4-FFF2-40B4-BE49-F238E27FC236}">
                  <a16:creationId xmlns:a16="http://schemas.microsoft.com/office/drawing/2014/main" id="{E0FF80B2-EABB-3DBD-F87E-BBABD0ED7FA1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3370753" y="2479397"/>
              <a:ext cx="503233" cy="461209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2" name="Freeform 167">
              <a:extLst>
                <a:ext uri="{FF2B5EF4-FFF2-40B4-BE49-F238E27FC236}">
                  <a16:creationId xmlns:a16="http://schemas.microsoft.com/office/drawing/2014/main" id="{99E9F7CF-229E-D93F-CF09-8704F14C3D35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5694280" y="4806403"/>
              <a:ext cx="703740" cy="642896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3" name="Freeform 168">
              <a:extLst>
                <a:ext uri="{FF2B5EF4-FFF2-40B4-BE49-F238E27FC236}">
                  <a16:creationId xmlns:a16="http://schemas.microsoft.com/office/drawing/2014/main" id="{23D711C7-4A2A-BA77-7003-5ACC45ED14BF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5898717" y="5281587"/>
              <a:ext cx="467850" cy="461209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solidFill>
              <a:srgbClr val="C0C0C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4" name="Freeform 186">
              <a:extLst>
                <a:ext uri="{FF2B5EF4-FFF2-40B4-BE49-F238E27FC236}">
                  <a16:creationId xmlns:a16="http://schemas.microsoft.com/office/drawing/2014/main" id="{5C21F1FA-191B-EC95-83FE-AC41502D0D34}"/>
                </a:ext>
              </a:extLst>
            </p:cNvPr>
            <p:cNvSpPr>
              <a:spLocks noEditPoints="1"/>
            </p:cNvSpPr>
            <p:nvPr>
              <p:custDataLst>
                <p:tags r:id="rId88"/>
              </p:custDataLst>
            </p:nvPr>
          </p:nvSpPr>
          <p:spPr bwMode="gray">
            <a:xfrm>
              <a:off x="5379757" y="5714844"/>
              <a:ext cx="1269878" cy="1757480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grpSp>
          <p:nvGrpSpPr>
            <p:cNvPr id="95" name="Group 464">
              <a:extLst>
                <a:ext uri="{FF2B5EF4-FFF2-40B4-BE49-F238E27FC236}">
                  <a16:creationId xmlns:a16="http://schemas.microsoft.com/office/drawing/2014/main" id="{FEE80FF3-1C55-2195-3877-91636FB3DC9E}"/>
                </a:ext>
              </a:extLst>
            </p:cNvPr>
            <p:cNvGrpSpPr/>
            <p:nvPr>
              <p:custDataLst>
                <p:tags r:id="rId89"/>
              </p:custDataLst>
            </p:nvPr>
          </p:nvGrpSpPr>
          <p:grpSpPr bwMode="gray">
            <a:xfrm>
              <a:off x="5159601" y="1099265"/>
              <a:ext cx="2917182" cy="3375204"/>
              <a:chOff x="4818063" y="3268663"/>
              <a:chExt cx="1177924" cy="1533525"/>
            </a:xfrm>
            <a:solidFill>
              <a:srgbClr val="C0C0C0"/>
            </a:solidFill>
          </p:grpSpPr>
          <p:grpSp>
            <p:nvGrpSpPr>
              <p:cNvPr id="116" name="Group 195">
                <a:extLst>
                  <a:ext uri="{FF2B5EF4-FFF2-40B4-BE49-F238E27FC236}">
                    <a16:creationId xmlns:a16="http://schemas.microsoft.com/office/drawing/2014/main" id="{5BC401BE-2754-2DBC-B0B4-E563639D6755}"/>
                  </a:ext>
                </a:extLst>
              </p:cNvPr>
              <p:cNvGrpSpPr>
                <a:grpSpLocks/>
              </p:cNvGrpSpPr>
              <p:nvPr>
                <p:custDataLst>
                  <p:tags r:id="rId90"/>
                </p:custDataLst>
              </p:nvPr>
            </p:nvGrpSpPr>
            <p:grpSpPr bwMode="gray">
              <a:xfrm>
                <a:off x="4818063" y="4294188"/>
                <a:ext cx="525462" cy="508000"/>
                <a:chOff x="3035" y="2705"/>
                <a:chExt cx="331" cy="320"/>
              </a:xfrm>
              <a:grpFill/>
            </p:grpSpPr>
            <p:sp>
              <p:nvSpPr>
                <p:cNvPr id="119" name="Freeform 196">
                  <a:extLst>
                    <a:ext uri="{FF2B5EF4-FFF2-40B4-BE49-F238E27FC236}">
                      <a16:creationId xmlns:a16="http://schemas.microsoft.com/office/drawing/2014/main" id="{5257FD2F-0028-2730-426B-5D2152C7EE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35" y="2705"/>
                  <a:ext cx="36" cy="36"/>
                </a:xfrm>
                <a:custGeom>
                  <a:avLst/>
                  <a:gdLst/>
                  <a:ahLst/>
                  <a:cxnLst>
                    <a:cxn ang="0">
                      <a:pos x="4" y="8"/>
                    </a:cxn>
                    <a:cxn ang="0">
                      <a:pos x="4" y="8"/>
                    </a:cxn>
                    <a:cxn ang="0">
                      <a:pos x="0" y="8"/>
                    </a:cxn>
                    <a:cxn ang="0">
                      <a:pos x="4" y="4"/>
                    </a:cxn>
                    <a:cxn ang="0">
                      <a:pos x="8" y="0"/>
                    </a:cxn>
                    <a:cxn ang="0">
                      <a:pos x="12" y="0"/>
                    </a:cxn>
                    <a:cxn ang="0">
                      <a:pos x="12" y="4"/>
                    </a:cxn>
                    <a:cxn ang="0">
                      <a:pos x="16" y="4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12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24" y="16"/>
                    </a:cxn>
                    <a:cxn ang="0">
                      <a:pos x="24" y="16"/>
                    </a:cxn>
                    <a:cxn ang="0">
                      <a:pos x="28" y="16"/>
                    </a:cxn>
                    <a:cxn ang="0">
                      <a:pos x="32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2" y="28"/>
                    </a:cxn>
                    <a:cxn ang="0">
                      <a:pos x="32" y="28"/>
                    </a:cxn>
                    <a:cxn ang="0">
                      <a:pos x="28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32"/>
                    </a:cxn>
                    <a:cxn ang="0">
                      <a:pos x="24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16" y="36"/>
                    </a:cxn>
                    <a:cxn ang="0">
                      <a:pos x="16" y="36"/>
                    </a:cxn>
                    <a:cxn ang="0">
                      <a:pos x="16" y="32"/>
                    </a:cxn>
                    <a:cxn ang="0">
                      <a:pos x="12" y="24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36" h="36">
                      <a:moveTo>
                        <a:pt x="8" y="12"/>
                      </a:moveTo>
                      <a:lnTo>
                        <a:pt x="8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28"/>
                      </a:ln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8" y="24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197">
                  <a:extLst>
                    <a:ext uri="{FF2B5EF4-FFF2-40B4-BE49-F238E27FC236}">
                      <a16:creationId xmlns:a16="http://schemas.microsoft.com/office/drawing/2014/main" id="{09B42DB2-C865-7DD2-2A6E-01FF3BDACE0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18" y="2965"/>
                  <a:ext cx="48" cy="60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32" y="0"/>
                    </a:cxn>
                    <a:cxn ang="0">
                      <a:pos x="36" y="4"/>
                    </a:cxn>
                    <a:cxn ang="0">
                      <a:pos x="36" y="4"/>
                    </a:cxn>
                    <a:cxn ang="0">
                      <a:pos x="40" y="8"/>
                    </a:cxn>
                    <a:cxn ang="0">
                      <a:pos x="40" y="8"/>
                    </a:cxn>
                    <a:cxn ang="0">
                      <a:pos x="44" y="12"/>
                    </a:cxn>
                    <a:cxn ang="0">
                      <a:pos x="40" y="8"/>
                    </a:cxn>
                    <a:cxn ang="0">
                      <a:pos x="48" y="8"/>
                    </a:cxn>
                    <a:cxn ang="0">
                      <a:pos x="44" y="12"/>
                    </a:cxn>
                    <a:cxn ang="0">
                      <a:pos x="40" y="16"/>
                    </a:cxn>
                    <a:cxn ang="0">
                      <a:pos x="36" y="16"/>
                    </a:cxn>
                    <a:cxn ang="0">
                      <a:pos x="40" y="24"/>
                    </a:cxn>
                    <a:cxn ang="0">
                      <a:pos x="36" y="28"/>
                    </a:cxn>
                    <a:cxn ang="0">
                      <a:pos x="36" y="32"/>
                    </a:cxn>
                    <a:cxn ang="0">
                      <a:pos x="32" y="32"/>
                    </a:cxn>
                    <a:cxn ang="0">
                      <a:pos x="32" y="40"/>
                    </a:cxn>
                    <a:cxn ang="0">
                      <a:pos x="24" y="40"/>
                    </a:cxn>
                    <a:cxn ang="0">
                      <a:pos x="28" y="44"/>
                    </a:cxn>
                    <a:cxn ang="0">
                      <a:pos x="28" y="44"/>
                    </a:cxn>
                    <a:cxn ang="0">
                      <a:pos x="32" y="44"/>
                    </a:cxn>
                    <a:cxn ang="0">
                      <a:pos x="28" y="48"/>
                    </a:cxn>
                    <a:cxn ang="0">
                      <a:pos x="24" y="52"/>
                    </a:cxn>
                    <a:cxn ang="0">
                      <a:pos x="20" y="48"/>
                    </a:cxn>
                    <a:cxn ang="0">
                      <a:pos x="20" y="56"/>
                    </a:cxn>
                    <a:cxn ang="0">
                      <a:pos x="16" y="60"/>
                    </a:cxn>
                    <a:cxn ang="0">
                      <a:pos x="20" y="56"/>
                    </a:cxn>
                    <a:cxn ang="0">
                      <a:pos x="16" y="52"/>
                    </a:cxn>
                    <a:cxn ang="0">
                      <a:pos x="16" y="52"/>
                    </a:cxn>
                    <a:cxn ang="0">
                      <a:pos x="12" y="48"/>
                    </a:cxn>
                    <a:cxn ang="0">
                      <a:pos x="8" y="52"/>
                    </a:cxn>
                    <a:cxn ang="0">
                      <a:pos x="4" y="56"/>
                    </a:cxn>
                    <a:cxn ang="0">
                      <a:pos x="4" y="52"/>
                    </a:cxn>
                    <a:cxn ang="0">
                      <a:pos x="0" y="48"/>
                    </a:cxn>
                    <a:cxn ang="0">
                      <a:pos x="0" y="40"/>
                    </a:cxn>
                    <a:cxn ang="0">
                      <a:pos x="0" y="32"/>
                    </a:cxn>
                    <a:cxn ang="0">
                      <a:pos x="4" y="28"/>
                    </a:cxn>
                    <a:cxn ang="0">
                      <a:pos x="0" y="20"/>
                    </a:cxn>
                    <a:cxn ang="0">
                      <a:pos x="4" y="12"/>
                    </a:cxn>
                    <a:cxn ang="0">
                      <a:pos x="8" y="8"/>
                    </a:cxn>
                    <a:cxn ang="0">
                      <a:pos x="12" y="4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8" h="60">
                      <a:moveTo>
                        <a:pt x="24" y="0"/>
                      </a:moveTo>
                      <a:lnTo>
                        <a:pt x="28" y="0"/>
                      </a:lnTo>
                      <a:lnTo>
                        <a:pt x="28" y="4"/>
                      </a:lnTo>
                      <a:lnTo>
                        <a:pt x="32" y="0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12"/>
                      </a:lnTo>
                      <a:lnTo>
                        <a:pt x="44" y="12"/>
                      </a:lnTo>
                      <a:lnTo>
                        <a:pt x="40" y="12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44" y="12"/>
                      </a:lnTo>
                      <a:lnTo>
                        <a:pt x="44" y="16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36" y="16"/>
                      </a:lnTo>
                      <a:lnTo>
                        <a:pt x="36" y="20"/>
                      </a:lnTo>
                      <a:lnTo>
                        <a:pt x="40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32"/>
                      </a:lnTo>
                      <a:lnTo>
                        <a:pt x="36" y="32"/>
                      </a:lnTo>
                      <a:lnTo>
                        <a:pt x="36" y="36"/>
                      </a:lnTo>
                      <a:lnTo>
                        <a:pt x="32" y="32"/>
                      </a:lnTo>
                      <a:lnTo>
                        <a:pt x="32" y="36"/>
                      </a:lnTo>
                      <a:lnTo>
                        <a:pt x="32" y="40"/>
                      </a:lnTo>
                      <a:lnTo>
                        <a:pt x="28" y="40"/>
                      </a:lnTo>
                      <a:lnTo>
                        <a:pt x="24" y="40"/>
                      </a:lnTo>
                      <a:lnTo>
                        <a:pt x="28" y="40"/>
                      </a:lnTo>
                      <a:lnTo>
                        <a:pt x="28" y="44"/>
                      </a:lnTo>
                      <a:lnTo>
                        <a:pt x="24" y="44"/>
                      </a:lnTo>
                      <a:lnTo>
                        <a:pt x="28" y="44"/>
                      </a:lnTo>
                      <a:lnTo>
                        <a:pt x="32" y="48"/>
                      </a:lnTo>
                      <a:lnTo>
                        <a:pt x="32" y="44"/>
                      </a:lnTo>
                      <a:lnTo>
                        <a:pt x="32" y="48"/>
                      </a:lnTo>
                      <a:lnTo>
                        <a:pt x="28" y="48"/>
                      </a:lnTo>
                      <a:lnTo>
                        <a:pt x="28" y="52"/>
                      </a:lnTo>
                      <a:lnTo>
                        <a:pt x="24" y="52"/>
                      </a:lnTo>
                      <a:lnTo>
                        <a:pt x="24" y="48"/>
                      </a:lnTo>
                      <a:lnTo>
                        <a:pt x="20" y="48"/>
                      </a:lnTo>
                      <a:lnTo>
                        <a:pt x="20" y="52"/>
                      </a:lnTo>
                      <a:lnTo>
                        <a:pt x="20" y="56"/>
                      </a:lnTo>
                      <a:lnTo>
                        <a:pt x="20" y="60"/>
                      </a:lnTo>
                      <a:lnTo>
                        <a:pt x="16" y="60"/>
                      </a:lnTo>
                      <a:lnTo>
                        <a:pt x="20" y="60"/>
                      </a:lnTo>
                      <a:lnTo>
                        <a:pt x="20" y="56"/>
                      </a:lnTo>
                      <a:lnTo>
                        <a:pt x="20" y="52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16" y="52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8" y="48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56"/>
                      </a:lnTo>
                      <a:lnTo>
                        <a:pt x="0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4" y="32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0" y="20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0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7" name="Freeform 207">
                <a:extLst>
                  <a:ext uri="{FF2B5EF4-FFF2-40B4-BE49-F238E27FC236}">
                    <a16:creationId xmlns:a16="http://schemas.microsoft.com/office/drawing/2014/main" id="{F0A8B883-E632-1EDD-C903-119749BABCBF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5629275" y="3268663"/>
                <a:ext cx="195262" cy="347663"/>
              </a:xfrm>
              <a:custGeom>
                <a:avLst/>
                <a:gdLst/>
                <a:ahLst/>
                <a:cxnLst>
                  <a:cxn ang="0">
                    <a:pos x="40" y="155"/>
                  </a:cxn>
                  <a:cxn ang="0">
                    <a:pos x="52" y="143"/>
                  </a:cxn>
                  <a:cxn ang="0">
                    <a:pos x="48" y="139"/>
                  </a:cxn>
                  <a:cxn ang="0">
                    <a:pos x="40" y="127"/>
                  </a:cxn>
                  <a:cxn ang="0">
                    <a:pos x="32" y="115"/>
                  </a:cxn>
                  <a:cxn ang="0">
                    <a:pos x="24" y="99"/>
                  </a:cxn>
                  <a:cxn ang="0">
                    <a:pos x="16" y="88"/>
                  </a:cxn>
                  <a:cxn ang="0">
                    <a:pos x="12" y="80"/>
                  </a:cxn>
                  <a:cxn ang="0">
                    <a:pos x="12" y="68"/>
                  </a:cxn>
                  <a:cxn ang="0">
                    <a:pos x="12" y="72"/>
                  </a:cxn>
                  <a:cxn ang="0">
                    <a:pos x="4" y="56"/>
                  </a:cxn>
                  <a:cxn ang="0">
                    <a:pos x="8" y="48"/>
                  </a:cxn>
                  <a:cxn ang="0">
                    <a:pos x="12" y="32"/>
                  </a:cxn>
                  <a:cxn ang="0">
                    <a:pos x="16" y="28"/>
                  </a:cxn>
                  <a:cxn ang="0">
                    <a:pos x="32" y="24"/>
                  </a:cxn>
                  <a:cxn ang="0">
                    <a:pos x="40" y="16"/>
                  </a:cxn>
                  <a:cxn ang="0">
                    <a:pos x="48" y="12"/>
                  </a:cxn>
                  <a:cxn ang="0">
                    <a:pos x="64" y="4"/>
                  </a:cxn>
                  <a:cxn ang="0">
                    <a:pos x="75" y="4"/>
                  </a:cxn>
                  <a:cxn ang="0">
                    <a:pos x="91" y="4"/>
                  </a:cxn>
                  <a:cxn ang="0">
                    <a:pos x="99" y="16"/>
                  </a:cxn>
                  <a:cxn ang="0">
                    <a:pos x="95" y="36"/>
                  </a:cxn>
                  <a:cxn ang="0">
                    <a:pos x="83" y="36"/>
                  </a:cxn>
                  <a:cxn ang="0">
                    <a:pos x="68" y="40"/>
                  </a:cxn>
                  <a:cxn ang="0">
                    <a:pos x="68" y="52"/>
                  </a:cxn>
                  <a:cxn ang="0">
                    <a:pos x="68" y="56"/>
                  </a:cxn>
                  <a:cxn ang="0">
                    <a:pos x="56" y="60"/>
                  </a:cxn>
                  <a:cxn ang="0">
                    <a:pos x="68" y="72"/>
                  </a:cxn>
                  <a:cxn ang="0">
                    <a:pos x="79" y="88"/>
                  </a:cxn>
                  <a:cxn ang="0">
                    <a:pos x="91" y="92"/>
                  </a:cxn>
                  <a:cxn ang="0">
                    <a:pos x="87" y="107"/>
                  </a:cxn>
                  <a:cxn ang="0">
                    <a:pos x="87" y="119"/>
                  </a:cxn>
                  <a:cxn ang="0">
                    <a:pos x="91" y="119"/>
                  </a:cxn>
                  <a:cxn ang="0">
                    <a:pos x="95" y="107"/>
                  </a:cxn>
                  <a:cxn ang="0">
                    <a:pos x="111" y="111"/>
                  </a:cxn>
                  <a:cxn ang="0">
                    <a:pos x="119" y="123"/>
                  </a:cxn>
                  <a:cxn ang="0">
                    <a:pos x="115" y="135"/>
                  </a:cxn>
                  <a:cxn ang="0">
                    <a:pos x="107" y="131"/>
                  </a:cxn>
                  <a:cxn ang="0">
                    <a:pos x="95" y="131"/>
                  </a:cxn>
                  <a:cxn ang="0">
                    <a:pos x="95" y="135"/>
                  </a:cxn>
                  <a:cxn ang="0">
                    <a:pos x="91" y="151"/>
                  </a:cxn>
                  <a:cxn ang="0">
                    <a:pos x="95" y="151"/>
                  </a:cxn>
                  <a:cxn ang="0">
                    <a:pos x="107" y="155"/>
                  </a:cxn>
                  <a:cxn ang="0">
                    <a:pos x="99" y="159"/>
                  </a:cxn>
                  <a:cxn ang="0">
                    <a:pos x="107" y="167"/>
                  </a:cxn>
                  <a:cxn ang="0">
                    <a:pos x="107" y="183"/>
                  </a:cxn>
                  <a:cxn ang="0">
                    <a:pos x="111" y="203"/>
                  </a:cxn>
                  <a:cxn ang="0">
                    <a:pos x="103" y="215"/>
                  </a:cxn>
                  <a:cxn ang="0">
                    <a:pos x="107" y="211"/>
                  </a:cxn>
                  <a:cxn ang="0">
                    <a:pos x="87" y="215"/>
                  </a:cxn>
                  <a:cxn ang="0">
                    <a:pos x="72" y="215"/>
                  </a:cxn>
                  <a:cxn ang="0">
                    <a:pos x="56" y="203"/>
                  </a:cxn>
                  <a:cxn ang="0">
                    <a:pos x="36" y="199"/>
                  </a:cxn>
                  <a:cxn ang="0">
                    <a:pos x="32" y="175"/>
                  </a:cxn>
                  <a:cxn ang="0">
                    <a:pos x="36" y="171"/>
                  </a:cxn>
                </a:cxnLst>
                <a:rect l="0" t="0" r="r" b="b"/>
                <a:pathLst>
                  <a:path w="123" h="219">
                    <a:moveTo>
                      <a:pt x="40" y="167"/>
                    </a:moveTo>
                    <a:lnTo>
                      <a:pt x="40" y="163"/>
                    </a:lnTo>
                    <a:lnTo>
                      <a:pt x="44" y="163"/>
                    </a:lnTo>
                    <a:lnTo>
                      <a:pt x="40" y="159"/>
                    </a:lnTo>
                    <a:lnTo>
                      <a:pt x="40" y="155"/>
                    </a:lnTo>
                    <a:lnTo>
                      <a:pt x="44" y="151"/>
                    </a:lnTo>
                    <a:lnTo>
                      <a:pt x="44" y="147"/>
                    </a:lnTo>
                    <a:lnTo>
                      <a:pt x="44" y="143"/>
                    </a:lnTo>
                    <a:lnTo>
                      <a:pt x="48" y="143"/>
                    </a:lnTo>
                    <a:lnTo>
                      <a:pt x="52" y="143"/>
                    </a:lnTo>
                    <a:lnTo>
                      <a:pt x="56" y="143"/>
                    </a:lnTo>
                    <a:lnTo>
                      <a:pt x="56" y="139"/>
                    </a:lnTo>
                    <a:lnTo>
                      <a:pt x="52" y="135"/>
                    </a:lnTo>
                    <a:lnTo>
                      <a:pt x="48" y="135"/>
                    </a:lnTo>
                    <a:lnTo>
                      <a:pt x="48" y="139"/>
                    </a:lnTo>
                    <a:lnTo>
                      <a:pt x="48" y="135"/>
                    </a:lnTo>
                    <a:lnTo>
                      <a:pt x="44" y="135"/>
                    </a:lnTo>
                    <a:lnTo>
                      <a:pt x="44" y="131"/>
                    </a:lnTo>
                    <a:lnTo>
                      <a:pt x="40" y="131"/>
                    </a:lnTo>
                    <a:lnTo>
                      <a:pt x="40" y="127"/>
                    </a:lnTo>
                    <a:lnTo>
                      <a:pt x="40" y="123"/>
                    </a:lnTo>
                    <a:lnTo>
                      <a:pt x="36" y="123"/>
                    </a:lnTo>
                    <a:lnTo>
                      <a:pt x="36" y="119"/>
                    </a:lnTo>
                    <a:lnTo>
                      <a:pt x="36" y="115"/>
                    </a:lnTo>
                    <a:lnTo>
                      <a:pt x="32" y="115"/>
                    </a:lnTo>
                    <a:lnTo>
                      <a:pt x="32" y="111"/>
                    </a:lnTo>
                    <a:lnTo>
                      <a:pt x="28" y="111"/>
                    </a:lnTo>
                    <a:lnTo>
                      <a:pt x="28" y="107"/>
                    </a:lnTo>
                    <a:lnTo>
                      <a:pt x="24" y="107"/>
                    </a:lnTo>
                    <a:lnTo>
                      <a:pt x="24" y="99"/>
                    </a:lnTo>
                    <a:lnTo>
                      <a:pt x="20" y="99"/>
                    </a:lnTo>
                    <a:lnTo>
                      <a:pt x="20" y="96"/>
                    </a:lnTo>
                    <a:lnTo>
                      <a:pt x="16" y="96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32" y="28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5" y="0"/>
                    </a:lnTo>
                    <a:lnTo>
                      <a:pt x="75" y="4"/>
                    </a:lnTo>
                    <a:lnTo>
                      <a:pt x="79" y="4"/>
                    </a:lnTo>
                    <a:lnTo>
                      <a:pt x="83" y="4"/>
                    </a:lnTo>
                    <a:lnTo>
                      <a:pt x="87" y="4"/>
                    </a:lnTo>
                    <a:lnTo>
                      <a:pt x="87" y="0"/>
                    </a:lnTo>
                    <a:lnTo>
                      <a:pt x="91" y="4"/>
                    </a:lnTo>
                    <a:lnTo>
                      <a:pt x="95" y="4"/>
                    </a:lnTo>
                    <a:lnTo>
                      <a:pt x="99" y="4"/>
                    </a:lnTo>
                    <a:lnTo>
                      <a:pt x="99" y="8"/>
                    </a:lnTo>
                    <a:lnTo>
                      <a:pt x="95" y="12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5" y="24"/>
                    </a:lnTo>
                    <a:lnTo>
                      <a:pt x="95" y="28"/>
                    </a:lnTo>
                    <a:lnTo>
                      <a:pt x="91" y="32"/>
                    </a:lnTo>
                    <a:lnTo>
                      <a:pt x="95" y="36"/>
                    </a:lnTo>
                    <a:lnTo>
                      <a:pt x="99" y="36"/>
                    </a:lnTo>
                    <a:lnTo>
                      <a:pt x="95" y="36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3" y="36"/>
                    </a:lnTo>
                    <a:lnTo>
                      <a:pt x="79" y="36"/>
                    </a:lnTo>
                    <a:lnTo>
                      <a:pt x="75" y="36"/>
                    </a:lnTo>
                    <a:lnTo>
                      <a:pt x="72" y="36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8"/>
                    </a:lnTo>
                    <a:lnTo>
                      <a:pt x="68" y="48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5" y="52"/>
                    </a:lnTo>
                    <a:lnTo>
                      <a:pt x="75" y="56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8" y="68"/>
                    </a:lnTo>
                    <a:lnTo>
                      <a:pt x="68" y="72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2" y="84"/>
                    </a:lnTo>
                    <a:lnTo>
                      <a:pt x="75" y="84"/>
                    </a:lnTo>
                    <a:lnTo>
                      <a:pt x="79" y="88"/>
                    </a:lnTo>
                    <a:lnTo>
                      <a:pt x="79" y="92"/>
                    </a:lnTo>
                    <a:lnTo>
                      <a:pt x="79" y="88"/>
                    </a:lnTo>
                    <a:lnTo>
                      <a:pt x="83" y="88"/>
                    </a:lnTo>
                    <a:lnTo>
                      <a:pt x="87" y="92"/>
                    </a:lnTo>
                    <a:lnTo>
                      <a:pt x="91" y="92"/>
                    </a:lnTo>
                    <a:lnTo>
                      <a:pt x="91" y="96"/>
                    </a:lnTo>
                    <a:lnTo>
                      <a:pt x="91" y="99"/>
                    </a:lnTo>
                    <a:lnTo>
                      <a:pt x="87" y="99"/>
                    </a:lnTo>
                    <a:lnTo>
                      <a:pt x="87" y="103"/>
                    </a:lnTo>
                    <a:lnTo>
                      <a:pt x="87" y="107"/>
                    </a:lnTo>
                    <a:lnTo>
                      <a:pt x="87" y="111"/>
                    </a:lnTo>
                    <a:lnTo>
                      <a:pt x="87" y="115"/>
                    </a:lnTo>
                    <a:lnTo>
                      <a:pt x="91" y="115"/>
                    </a:lnTo>
                    <a:lnTo>
                      <a:pt x="87" y="115"/>
                    </a:lnTo>
                    <a:lnTo>
                      <a:pt x="87" y="119"/>
                    </a:lnTo>
                    <a:lnTo>
                      <a:pt x="91" y="119"/>
                    </a:lnTo>
                    <a:lnTo>
                      <a:pt x="91" y="123"/>
                    </a:lnTo>
                    <a:lnTo>
                      <a:pt x="95" y="127"/>
                    </a:lnTo>
                    <a:lnTo>
                      <a:pt x="95" y="123"/>
                    </a:lnTo>
                    <a:lnTo>
                      <a:pt x="91" y="119"/>
                    </a:lnTo>
                    <a:lnTo>
                      <a:pt x="95" y="119"/>
                    </a:lnTo>
                    <a:lnTo>
                      <a:pt x="95" y="115"/>
                    </a:lnTo>
                    <a:lnTo>
                      <a:pt x="91" y="115"/>
                    </a:lnTo>
                    <a:lnTo>
                      <a:pt x="95" y="111"/>
                    </a:lnTo>
                    <a:lnTo>
                      <a:pt x="95" y="107"/>
                    </a:lnTo>
                    <a:lnTo>
                      <a:pt x="99" y="107"/>
                    </a:lnTo>
                    <a:lnTo>
                      <a:pt x="103" y="103"/>
                    </a:lnTo>
                    <a:lnTo>
                      <a:pt x="107" y="103"/>
                    </a:lnTo>
                    <a:lnTo>
                      <a:pt x="111" y="107"/>
                    </a:lnTo>
                    <a:lnTo>
                      <a:pt x="111" y="111"/>
                    </a:lnTo>
                    <a:lnTo>
                      <a:pt x="111" y="115"/>
                    </a:lnTo>
                    <a:lnTo>
                      <a:pt x="111" y="119"/>
                    </a:lnTo>
                    <a:lnTo>
                      <a:pt x="115" y="119"/>
                    </a:lnTo>
                    <a:lnTo>
                      <a:pt x="115" y="123"/>
                    </a:lnTo>
                    <a:lnTo>
                      <a:pt x="119" y="123"/>
                    </a:lnTo>
                    <a:lnTo>
                      <a:pt x="123" y="127"/>
                    </a:lnTo>
                    <a:lnTo>
                      <a:pt x="123" y="131"/>
                    </a:lnTo>
                    <a:lnTo>
                      <a:pt x="119" y="131"/>
                    </a:lnTo>
                    <a:lnTo>
                      <a:pt x="115" y="131"/>
                    </a:lnTo>
                    <a:lnTo>
                      <a:pt x="115" y="135"/>
                    </a:lnTo>
                    <a:lnTo>
                      <a:pt x="119" y="135"/>
                    </a:lnTo>
                    <a:lnTo>
                      <a:pt x="115" y="135"/>
                    </a:lnTo>
                    <a:lnTo>
                      <a:pt x="111" y="135"/>
                    </a:lnTo>
                    <a:lnTo>
                      <a:pt x="107" y="135"/>
                    </a:lnTo>
                    <a:lnTo>
                      <a:pt x="107" y="131"/>
                    </a:lnTo>
                    <a:lnTo>
                      <a:pt x="103" y="131"/>
                    </a:lnTo>
                    <a:lnTo>
                      <a:pt x="103" y="135"/>
                    </a:lnTo>
                    <a:lnTo>
                      <a:pt x="103" y="131"/>
                    </a:lnTo>
                    <a:lnTo>
                      <a:pt x="99" y="131"/>
                    </a:lnTo>
                    <a:lnTo>
                      <a:pt x="95" y="131"/>
                    </a:lnTo>
                    <a:lnTo>
                      <a:pt x="95" y="127"/>
                    </a:lnTo>
                    <a:lnTo>
                      <a:pt x="95" y="131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1" y="139"/>
                    </a:lnTo>
                    <a:lnTo>
                      <a:pt x="91" y="143"/>
                    </a:lnTo>
                    <a:lnTo>
                      <a:pt x="91" y="147"/>
                    </a:lnTo>
                    <a:lnTo>
                      <a:pt x="91" y="151"/>
                    </a:lnTo>
                    <a:lnTo>
                      <a:pt x="95" y="151"/>
                    </a:lnTo>
                    <a:lnTo>
                      <a:pt x="95" y="155"/>
                    </a:lnTo>
                    <a:lnTo>
                      <a:pt x="95" y="151"/>
                    </a:lnTo>
                    <a:lnTo>
                      <a:pt x="95" y="147"/>
                    </a:lnTo>
                    <a:lnTo>
                      <a:pt x="95" y="151"/>
                    </a:lnTo>
                    <a:lnTo>
                      <a:pt x="99" y="151"/>
                    </a:lnTo>
                    <a:lnTo>
                      <a:pt x="103" y="147"/>
                    </a:lnTo>
                    <a:lnTo>
                      <a:pt x="103" y="151"/>
                    </a:lnTo>
                    <a:lnTo>
                      <a:pt x="103" y="155"/>
                    </a:lnTo>
                    <a:lnTo>
                      <a:pt x="107" y="155"/>
                    </a:lnTo>
                    <a:lnTo>
                      <a:pt x="107" y="159"/>
                    </a:lnTo>
                    <a:lnTo>
                      <a:pt x="103" y="159"/>
                    </a:lnTo>
                    <a:lnTo>
                      <a:pt x="99" y="159"/>
                    </a:lnTo>
                    <a:lnTo>
                      <a:pt x="99" y="155"/>
                    </a:lnTo>
                    <a:lnTo>
                      <a:pt x="99" y="159"/>
                    </a:lnTo>
                    <a:lnTo>
                      <a:pt x="99" y="163"/>
                    </a:lnTo>
                    <a:lnTo>
                      <a:pt x="99" y="167"/>
                    </a:lnTo>
                    <a:lnTo>
                      <a:pt x="99" y="163"/>
                    </a:lnTo>
                    <a:lnTo>
                      <a:pt x="103" y="163"/>
                    </a:lnTo>
                    <a:lnTo>
                      <a:pt x="107" y="167"/>
                    </a:lnTo>
                    <a:lnTo>
                      <a:pt x="111" y="171"/>
                    </a:lnTo>
                    <a:lnTo>
                      <a:pt x="111" y="175"/>
                    </a:lnTo>
                    <a:lnTo>
                      <a:pt x="107" y="175"/>
                    </a:lnTo>
                    <a:lnTo>
                      <a:pt x="107" y="179"/>
                    </a:lnTo>
                    <a:lnTo>
                      <a:pt x="107" y="183"/>
                    </a:lnTo>
                    <a:lnTo>
                      <a:pt x="107" y="187"/>
                    </a:lnTo>
                    <a:lnTo>
                      <a:pt x="107" y="191"/>
                    </a:lnTo>
                    <a:lnTo>
                      <a:pt x="107" y="195"/>
                    </a:lnTo>
                    <a:lnTo>
                      <a:pt x="107" y="199"/>
                    </a:lnTo>
                    <a:lnTo>
                      <a:pt x="111" y="203"/>
                    </a:lnTo>
                    <a:lnTo>
                      <a:pt x="111" y="207"/>
                    </a:lnTo>
                    <a:lnTo>
                      <a:pt x="111" y="211"/>
                    </a:lnTo>
                    <a:lnTo>
                      <a:pt x="111" y="215"/>
                    </a:lnTo>
                    <a:lnTo>
                      <a:pt x="107" y="215"/>
                    </a:lnTo>
                    <a:lnTo>
                      <a:pt x="103" y="215"/>
                    </a:lnTo>
                    <a:lnTo>
                      <a:pt x="107" y="211"/>
                    </a:lnTo>
                    <a:lnTo>
                      <a:pt x="107" y="215"/>
                    </a:lnTo>
                    <a:lnTo>
                      <a:pt x="107" y="211"/>
                    </a:lnTo>
                    <a:lnTo>
                      <a:pt x="111" y="211"/>
                    </a:lnTo>
                    <a:lnTo>
                      <a:pt x="107" y="211"/>
                    </a:lnTo>
                    <a:lnTo>
                      <a:pt x="103" y="211"/>
                    </a:lnTo>
                    <a:lnTo>
                      <a:pt x="99" y="215"/>
                    </a:lnTo>
                    <a:lnTo>
                      <a:pt x="95" y="215"/>
                    </a:lnTo>
                    <a:lnTo>
                      <a:pt x="91" y="215"/>
                    </a:lnTo>
                    <a:lnTo>
                      <a:pt x="87" y="215"/>
                    </a:lnTo>
                    <a:lnTo>
                      <a:pt x="83" y="219"/>
                    </a:lnTo>
                    <a:lnTo>
                      <a:pt x="79" y="219"/>
                    </a:lnTo>
                    <a:lnTo>
                      <a:pt x="75" y="219"/>
                    </a:lnTo>
                    <a:lnTo>
                      <a:pt x="72" y="219"/>
                    </a:lnTo>
                    <a:lnTo>
                      <a:pt x="72" y="215"/>
                    </a:lnTo>
                    <a:lnTo>
                      <a:pt x="68" y="215"/>
                    </a:lnTo>
                    <a:lnTo>
                      <a:pt x="64" y="215"/>
                    </a:lnTo>
                    <a:lnTo>
                      <a:pt x="60" y="211"/>
                    </a:lnTo>
                    <a:lnTo>
                      <a:pt x="56" y="207"/>
                    </a:lnTo>
                    <a:lnTo>
                      <a:pt x="56" y="203"/>
                    </a:lnTo>
                    <a:lnTo>
                      <a:pt x="52" y="203"/>
                    </a:lnTo>
                    <a:lnTo>
                      <a:pt x="48" y="203"/>
                    </a:lnTo>
                    <a:lnTo>
                      <a:pt x="44" y="199"/>
                    </a:lnTo>
                    <a:lnTo>
                      <a:pt x="40" y="199"/>
                    </a:lnTo>
                    <a:lnTo>
                      <a:pt x="36" y="199"/>
                    </a:lnTo>
                    <a:lnTo>
                      <a:pt x="36" y="195"/>
                    </a:lnTo>
                    <a:lnTo>
                      <a:pt x="36" y="191"/>
                    </a:lnTo>
                    <a:lnTo>
                      <a:pt x="32" y="183"/>
                    </a:lnTo>
                    <a:lnTo>
                      <a:pt x="32" y="179"/>
                    </a:lnTo>
                    <a:lnTo>
                      <a:pt x="32" y="175"/>
                    </a:lnTo>
                    <a:lnTo>
                      <a:pt x="36" y="171"/>
                    </a:lnTo>
                    <a:lnTo>
                      <a:pt x="36" y="167"/>
                    </a:lnTo>
                    <a:lnTo>
                      <a:pt x="40" y="167"/>
                    </a:lnTo>
                    <a:lnTo>
                      <a:pt x="36" y="167"/>
                    </a:lnTo>
                    <a:lnTo>
                      <a:pt x="36" y="171"/>
                    </a:lnTo>
                    <a:lnTo>
                      <a:pt x="40" y="171"/>
                    </a:lnTo>
                    <a:lnTo>
                      <a:pt x="40" y="167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18" name="Freeform 208">
                <a:extLst>
                  <a:ext uri="{FF2B5EF4-FFF2-40B4-BE49-F238E27FC236}">
                    <a16:creationId xmlns:a16="http://schemas.microsoft.com/office/drawing/2014/main" id="{119339C9-22D3-EC6D-3FB5-6B3EF1B44437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5907087" y="3275013"/>
                <a:ext cx="88900" cy="120650"/>
              </a:xfrm>
              <a:custGeom>
                <a:avLst/>
                <a:gdLst/>
                <a:ahLst/>
                <a:cxnLst>
                  <a:cxn ang="0">
                    <a:pos x="44" y="20"/>
                  </a:cxn>
                  <a:cxn ang="0">
                    <a:pos x="40" y="24"/>
                  </a:cxn>
                  <a:cxn ang="0">
                    <a:pos x="44" y="28"/>
                  </a:cxn>
                  <a:cxn ang="0">
                    <a:pos x="48" y="24"/>
                  </a:cxn>
                  <a:cxn ang="0">
                    <a:pos x="44" y="28"/>
                  </a:cxn>
                  <a:cxn ang="0">
                    <a:pos x="48" y="36"/>
                  </a:cxn>
                  <a:cxn ang="0">
                    <a:pos x="56" y="36"/>
                  </a:cxn>
                  <a:cxn ang="0">
                    <a:pos x="52" y="40"/>
                  </a:cxn>
                  <a:cxn ang="0">
                    <a:pos x="52" y="44"/>
                  </a:cxn>
                  <a:cxn ang="0">
                    <a:pos x="48" y="48"/>
                  </a:cxn>
                  <a:cxn ang="0">
                    <a:pos x="44" y="52"/>
                  </a:cxn>
                  <a:cxn ang="0">
                    <a:pos x="44" y="52"/>
                  </a:cxn>
                  <a:cxn ang="0">
                    <a:pos x="44" y="60"/>
                  </a:cxn>
                  <a:cxn ang="0">
                    <a:pos x="40" y="56"/>
                  </a:cxn>
                  <a:cxn ang="0">
                    <a:pos x="36" y="60"/>
                  </a:cxn>
                  <a:cxn ang="0">
                    <a:pos x="40" y="64"/>
                  </a:cxn>
                  <a:cxn ang="0">
                    <a:pos x="44" y="68"/>
                  </a:cxn>
                  <a:cxn ang="0">
                    <a:pos x="36" y="72"/>
                  </a:cxn>
                  <a:cxn ang="0">
                    <a:pos x="32" y="68"/>
                  </a:cxn>
                  <a:cxn ang="0">
                    <a:pos x="28" y="72"/>
                  </a:cxn>
                  <a:cxn ang="0">
                    <a:pos x="24" y="76"/>
                  </a:cxn>
                  <a:cxn ang="0">
                    <a:pos x="20" y="72"/>
                  </a:cxn>
                  <a:cxn ang="0">
                    <a:pos x="20" y="68"/>
                  </a:cxn>
                  <a:cxn ang="0">
                    <a:pos x="16" y="64"/>
                  </a:cxn>
                  <a:cxn ang="0">
                    <a:pos x="12" y="68"/>
                  </a:cxn>
                  <a:cxn ang="0">
                    <a:pos x="8" y="64"/>
                  </a:cxn>
                  <a:cxn ang="0">
                    <a:pos x="8" y="64"/>
                  </a:cxn>
                  <a:cxn ang="0">
                    <a:pos x="12" y="68"/>
                  </a:cxn>
                  <a:cxn ang="0">
                    <a:pos x="4" y="68"/>
                  </a:cxn>
                  <a:cxn ang="0">
                    <a:pos x="0" y="64"/>
                  </a:cxn>
                  <a:cxn ang="0">
                    <a:pos x="0" y="56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4" y="32"/>
                  </a:cxn>
                  <a:cxn ang="0">
                    <a:pos x="4" y="24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20" y="24"/>
                  </a:cxn>
                  <a:cxn ang="0">
                    <a:pos x="20" y="16"/>
                  </a:cxn>
                  <a:cxn ang="0">
                    <a:pos x="24" y="12"/>
                  </a:cxn>
                  <a:cxn ang="0">
                    <a:pos x="28" y="16"/>
                  </a:cxn>
                  <a:cxn ang="0">
                    <a:pos x="24" y="12"/>
                  </a:cxn>
                  <a:cxn ang="0">
                    <a:pos x="24" y="4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36" y="0"/>
                  </a:cxn>
                  <a:cxn ang="0">
                    <a:pos x="40" y="4"/>
                  </a:cxn>
                  <a:cxn ang="0">
                    <a:pos x="44" y="8"/>
                  </a:cxn>
                  <a:cxn ang="0">
                    <a:pos x="48" y="4"/>
                  </a:cxn>
                  <a:cxn ang="0">
                    <a:pos x="52" y="0"/>
                  </a:cxn>
                  <a:cxn ang="0">
                    <a:pos x="52" y="8"/>
                  </a:cxn>
                  <a:cxn ang="0">
                    <a:pos x="44" y="12"/>
                  </a:cxn>
                  <a:cxn ang="0">
                    <a:pos x="40" y="16"/>
                  </a:cxn>
                </a:cxnLst>
                <a:rect l="0" t="0" r="r" b="b"/>
                <a:pathLst>
                  <a:path w="56" h="76">
                    <a:moveTo>
                      <a:pt x="40" y="16"/>
                    </a:moveTo>
                    <a:lnTo>
                      <a:pt x="44" y="20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40" y="28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8" y="32"/>
                    </a:lnTo>
                    <a:lnTo>
                      <a:pt x="48" y="36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2" y="44"/>
                    </a:lnTo>
                    <a:lnTo>
                      <a:pt x="48" y="44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0" y="68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28" y="72"/>
                    </a:lnTo>
                    <a:lnTo>
                      <a:pt x="24" y="72"/>
                    </a:lnTo>
                    <a:lnTo>
                      <a:pt x="24" y="76"/>
                    </a:lnTo>
                    <a:lnTo>
                      <a:pt x="24" y="72"/>
                    </a:lnTo>
                    <a:lnTo>
                      <a:pt x="20" y="72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</p:grpSp>
        <p:sp>
          <p:nvSpPr>
            <p:cNvPr id="96" name="Freeform 198">
              <a:extLst>
                <a:ext uri="{FF2B5EF4-FFF2-40B4-BE49-F238E27FC236}">
                  <a16:creationId xmlns:a16="http://schemas.microsoft.com/office/drawing/2014/main" id="{57339379-3CB5-8E7C-6E72-087C4830510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8222" y="2049635"/>
              <a:ext cx="15725" cy="13975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7" name="Freeform 265">
              <a:extLst>
                <a:ext uri="{FF2B5EF4-FFF2-40B4-BE49-F238E27FC236}">
                  <a16:creationId xmlns:a16="http://schemas.microsoft.com/office/drawing/2014/main" id="{4901928C-182C-A521-5C82-1EAA081A0839}"/>
                </a:ext>
              </a:extLst>
            </p:cNvPr>
            <p:cNvSpPr>
              <a:spLocks/>
            </p:cNvSpPr>
            <p:nvPr/>
          </p:nvSpPr>
          <p:spPr bwMode="gray">
            <a:xfrm>
              <a:off x="8705816" y="4893753"/>
              <a:ext cx="3933" cy="1397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8" name="Freeform 336">
              <a:extLst>
                <a:ext uri="{FF2B5EF4-FFF2-40B4-BE49-F238E27FC236}">
                  <a16:creationId xmlns:a16="http://schemas.microsoft.com/office/drawing/2014/main" id="{CBB48667-C9EC-C147-50E8-905D4AB850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8426" y="2035660"/>
              <a:ext cx="3933" cy="34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9" name="Freeform 337">
              <a:extLst>
                <a:ext uri="{FF2B5EF4-FFF2-40B4-BE49-F238E27FC236}">
                  <a16:creationId xmlns:a16="http://schemas.microsoft.com/office/drawing/2014/main" id="{CA7BE7AE-DDB6-574C-C79A-7AB557651A53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045" y="5173275"/>
              <a:ext cx="15725" cy="34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0" name="Freeform 338">
              <a:extLst>
                <a:ext uri="{FF2B5EF4-FFF2-40B4-BE49-F238E27FC236}">
                  <a16:creationId xmlns:a16="http://schemas.microsoft.com/office/drawing/2014/main" id="{185EBAD6-5E5B-4D81-44E6-D630397A2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2703" y="5522674"/>
              <a:ext cx="3933" cy="34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8F712C7D-AC84-6553-F357-AE773F8EBF5A}"/>
                </a:ext>
              </a:extLst>
            </p:cNvPr>
            <p:cNvSpPr txBox="1"/>
            <p:nvPr/>
          </p:nvSpPr>
          <p:spPr>
            <a:xfrm>
              <a:off x="6561405" y="4199993"/>
              <a:ext cx="137255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  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Kisumu, Kenya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A2F83EA-8883-85F4-6E8D-CF9D89A51FB1}"/>
                </a:ext>
              </a:extLst>
            </p:cNvPr>
            <p:cNvSpPr txBox="1"/>
            <p:nvPr/>
          </p:nvSpPr>
          <p:spPr>
            <a:xfrm>
              <a:off x="6350844" y="5570667"/>
              <a:ext cx="191520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Manhiça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, Mozambique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458DE353-CA43-3A61-F39E-4798E6401731}"/>
                </a:ext>
              </a:extLst>
            </p:cNvPr>
            <p:cNvSpPr txBox="1"/>
            <p:nvPr/>
          </p:nvSpPr>
          <p:spPr>
            <a:xfrm>
              <a:off x="6046572" y="5867722"/>
              <a:ext cx="175977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Soweto, South Africa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5B021E7-BE56-BE91-971E-5336F06F7D22}"/>
                </a:ext>
              </a:extLst>
            </p:cNvPr>
            <p:cNvSpPr txBox="1"/>
            <p:nvPr/>
          </p:nvSpPr>
          <p:spPr>
            <a:xfrm>
              <a:off x="6810562" y="3573455"/>
              <a:ext cx="23462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Harar/Kersa, Ethiopia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60E79F60-4DC1-F3AC-648C-888F5E5468AE}"/>
                </a:ext>
              </a:extLst>
            </p:cNvPr>
            <p:cNvSpPr txBox="1"/>
            <p:nvPr/>
          </p:nvSpPr>
          <p:spPr>
            <a:xfrm>
              <a:off x="9740697" y="2723548"/>
              <a:ext cx="1907068" cy="6636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</a:rPr>
                <a:t>  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Baliakandi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, 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tabLst/>
                <a:defRPr/>
              </a:pPr>
              <a:r>
                <a:rPr lang="en-US" sz="1400" b="1" dirty="0">
                  <a:solidFill>
                    <a:prstClr val="black"/>
                  </a:solidFill>
                  <a:latin typeface="Plus Jakarta Sans"/>
                  <a:cs typeface="Arial" panose="020B0604020202020204" pitchFamily="34" charset="0"/>
                </a:rPr>
                <a:t> 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Bangladesh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B912E0E4-5ED8-A77C-F66A-44287F107A2C}"/>
                </a:ext>
              </a:extLst>
            </p:cNvPr>
            <p:cNvSpPr txBox="1"/>
            <p:nvPr/>
          </p:nvSpPr>
          <p:spPr>
            <a:xfrm>
              <a:off x="3993235" y="3351529"/>
              <a:ext cx="28854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+mn-cs"/>
                </a:rPr>
                <a:t>  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57B9015C-6F68-C259-C050-D4F73B8EBBA0}"/>
                </a:ext>
              </a:extLst>
            </p:cNvPr>
            <p:cNvSpPr txBox="1"/>
            <p:nvPr/>
          </p:nvSpPr>
          <p:spPr>
            <a:xfrm>
              <a:off x="3722893" y="3634428"/>
              <a:ext cx="31418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703020202090204" pitchFamily="34" charset="0"/>
                  <a:ea typeface="+mn-ea"/>
                  <a:cs typeface="+mn-cs"/>
                </a:rPr>
                <a:t>  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CCA6380-D009-67CB-9AEA-F3ACD5E7D989}"/>
                </a:ext>
              </a:extLst>
            </p:cNvPr>
            <p:cNvSpPr txBox="1"/>
            <p:nvPr/>
          </p:nvSpPr>
          <p:spPr>
            <a:xfrm>
              <a:off x="6694933" y="5200423"/>
              <a:ext cx="234017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Quelimane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, Mozambique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EA10B15B-3234-CACA-6F7F-604D8BB2CD92}"/>
                </a:ext>
              </a:extLst>
            </p:cNvPr>
            <p:cNvSpPr txBox="1"/>
            <p:nvPr/>
          </p:nvSpPr>
          <p:spPr>
            <a:xfrm>
              <a:off x="2701685" y="3345912"/>
              <a:ext cx="109998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</a:rPr>
                <a:t>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Bamako, Mali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B58AEA7E-3202-ABEF-6259-81AA558DAFCE}"/>
                </a:ext>
              </a:extLst>
            </p:cNvPr>
            <p:cNvSpPr txBox="1"/>
            <p:nvPr/>
          </p:nvSpPr>
          <p:spPr>
            <a:xfrm>
              <a:off x="2202793" y="3798343"/>
              <a:ext cx="164378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</a:rPr>
                <a:t>  </a:t>
              </a:r>
              <a:r>
                <a:rPr kumimoji="0" lang="en-US" sz="14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Makeni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, Sierra Leone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19A5254B-29B8-9F28-8C66-E3458F491A8C}"/>
                </a:ext>
              </a:extLst>
            </p:cNvPr>
            <p:cNvSpPr txBox="1"/>
            <p:nvPr/>
          </p:nvSpPr>
          <p:spPr>
            <a:xfrm>
              <a:off x="4824072" y="3474446"/>
              <a:ext cx="42074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n-US" sz="18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+mn-cs"/>
                </a:rPr>
                <a:t> </a:t>
              </a:r>
              <a:endParaRPr lang="en-US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17911F7B-8524-F77A-EA03-3FC57C8D6999}"/>
                </a:ext>
              </a:extLst>
            </p:cNvPr>
            <p:cNvSpPr txBox="1"/>
            <p:nvPr/>
          </p:nvSpPr>
          <p:spPr>
            <a:xfrm>
              <a:off x="4693250" y="3784012"/>
              <a:ext cx="42074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n-US" sz="18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+mn-cs"/>
                </a:rPr>
                <a:t> </a:t>
              </a:r>
              <a:endParaRPr lang="en-US"/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5BC46E55-23C6-063E-28D6-C611F2D0076F}"/>
                </a:ext>
              </a:extLst>
            </p:cNvPr>
            <p:cNvSpPr txBox="1"/>
            <p:nvPr/>
          </p:nvSpPr>
          <p:spPr>
            <a:xfrm>
              <a:off x="8285335" y="2554566"/>
              <a:ext cx="42074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n-US" sz="18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+mn-cs"/>
                </a:rPr>
                <a:t> </a:t>
              </a:r>
              <a:endParaRPr lang="en-US"/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1DB61241-4F25-0005-CFFD-1D5A806A11AE}"/>
                </a:ext>
              </a:extLst>
            </p:cNvPr>
            <p:cNvSpPr txBox="1"/>
            <p:nvPr/>
          </p:nvSpPr>
          <p:spPr>
            <a:xfrm>
              <a:off x="2971820" y="4160377"/>
              <a:ext cx="203357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tabLst/>
                <a:defRPr/>
              </a:pPr>
              <a:r>
                <a:rPr kumimoji="0" lang="en-US" sz="1400" b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</a:rPr>
                <a:t>Bauchi and Calabar, Nigeria</a:t>
              </a:r>
              <a:endPara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/>
                <a:cs typeface="Arial" panose="020B060402020202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B1496377-0C1A-50E3-34F3-9DDB22A8BF98}"/>
                </a:ext>
              </a:extLst>
            </p:cNvPr>
            <p:cNvSpPr txBox="1"/>
            <p:nvPr/>
          </p:nvSpPr>
          <p:spPr>
            <a:xfrm>
              <a:off x="7274346" y="2855368"/>
              <a:ext cx="23462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lus Jakarta Sans"/>
                  <a:cs typeface="Arial" panose="020B0604020202020204" pitchFamily="34" charset="0"/>
                </a:rPr>
                <a:t>Karachi, Pakist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6892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52A6994-40F4-E172-BABC-6A37967F3E48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sz="4800" b="1" dirty="0"/>
              <a:t>What is known</a:t>
            </a:r>
            <a:endParaRPr lang="en-SL" sz="48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8A884-75F9-83E0-CB77-4B14C832D5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4" y="1802394"/>
            <a:ext cx="10487960" cy="411006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ult mortality rate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endemic areas are generally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r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mpared to children because many adults in malaria-endemic areas develop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al immunity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 time due to repeated exposure to the malaria parasite</a:t>
            </a:r>
            <a:endParaRPr lang="en-SL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C7FBC8-7475-3259-6395-924BB003BE5F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endParaRPr lang="en-SL" dirty="0"/>
          </a:p>
        </p:txBody>
      </p:sp>
    </p:spTree>
    <p:extLst>
      <p:ext uri="{BB962C8B-B14F-4D97-AF65-F5344CB8AC3E}">
        <p14:creationId xmlns:p14="http://schemas.microsoft.com/office/powerpoint/2010/main" val="2467556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D1D2B30-F1DE-A8C6-FAB9-3A9D123D9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8941" y="1030943"/>
            <a:ext cx="6343059" cy="2591017"/>
          </a:xfrm>
        </p:spPr>
        <p:txBody>
          <a:bodyPr/>
          <a:lstStyle/>
          <a:p>
            <a:pPr algn="ctr"/>
            <a:br>
              <a:rPr lang="en-US" b="1" i="0" dirty="0">
                <a:solidFill>
                  <a:schemeClr val="bg1"/>
                </a:solidFill>
                <a:effectLst/>
                <a:latin typeface="+mn-lt"/>
              </a:rPr>
            </a:br>
            <a:r>
              <a:rPr lang="en-US" b="1" i="0" dirty="0">
                <a:solidFill>
                  <a:schemeClr val="bg1"/>
                </a:solidFill>
                <a:effectLst/>
                <a:latin typeface="+mn-lt"/>
              </a:rPr>
              <a:t>What was new as suggested by a recent study?</a:t>
            </a:r>
            <a:br>
              <a:rPr lang="en-US" b="1" i="0" dirty="0">
                <a:solidFill>
                  <a:schemeClr val="bg1"/>
                </a:solidFill>
                <a:effectLst/>
                <a:latin typeface="+mn-lt"/>
              </a:rPr>
            </a:b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82D7A-E218-1ADF-BDEB-9ECC6FDEC65B}"/>
              </a:ext>
            </a:extLst>
          </p:cNvPr>
          <p:cNvSpPr txBox="1"/>
          <p:nvPr/>
        </p:nvSpPr>
        <p:spPr>
          <a:xfrm>
            <a:off x="6476262" y="4455898"/>
            <a:ext cx="571573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shon-Marsh R, Aimone A, Ansumana R, Swaray IB, </a:t>
            </a:r>
            <a:r>
              <a:rPr kumimoji="0" lang="en-US" b="0" i="1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salif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, Musa A, Meh C, Smart F, Hang Fu S, Newcombe L, </a:t>
            </a:r>
            <a:r>
              <a:rPr kumimoji="0" lang="en-US" b="0" i="1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madod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, Saikia N, Gelband H, </a:t>
            </a:r>
            <a:r>
              <a:rPr kumimoji="0" lang="en-US" b="0" i="1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ambai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, Jha P. Child, maternal, and adult mortality in Sierra Leone: nationally representative mortality survey 2018-20. </a:t>
            </a: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ncet Glob Health.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22 Jan;10(1):e114-e123. </a:t>
            </a:r>
            <a:r>
              <a:rPr kumimoji="0" lang="en-US" b="0" i="1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i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0.1016/S2214-109X(21)00459-9. </a:t>
            </a:r>
            <a:r>
              <a:rPr kumimoji="0" lang="en-US" b="0" i="1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pub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21 Nov 25. PMID: 34838202; PMCID: PMC8672062.</a:t>
            </a:r>
            <a:endParaRPr kumimoji="0" lang="en-SL" b="0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F898F8-83A8-D743-ED14-285EBB4F27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67" y="500030"/>
            <a:ext cx="2892433" cy="1325337"/>
          </a:xfrm>
          <a:prstGeom prst="rect">
            <a:avLst/>
          </a:prstGeom>
        </p:spPr>
      </p:pic>
      <p:pic>
        <p:nvPicPr>
          <p:cNvPr id="11" name="Picture Placeholder 10" descr="A person carrying a baby&#10;&#10;AI-generated content may be incorrect.">
            <a:extLst>
              <a:ext uri="{FF2B5EF4-FFF2-40B4-BE49-F238E27FC236}">
                <a16:creationId xmlns:a16="http://schemas.microsoft.com/office/drawing/2014/main" id="{89770AAC-C8BE-9560-EFE6-699154955AEA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46" b="1734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49238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F0765B-F2AF-1917-09AC-E6237339D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254B60-043F-9577-2ACF-C3F12D1B01E6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295014" y="639923"/>
            <a:ext cx="6243844" cy="819371"/>
          </a:xfrm>
        </p:spPr>
        <p:txBody>
          <a:bodyPr/>
          <a:lstStyle/>
          <a:p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study by Carshon-Marsh et al.</a:t>
            </a:r>
            <a:r>
              <a:rPr lang="en-US" sz="36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 </a:t>
            </a:r>
            <a:r>
              <a:rPr lang="en-US" sz="3600" b="1" dirty="0"/>
              <a:t>Lancet Glob Health</a:t>
            </a:r>
          </a:p>
          <a:p>
            <a:endParaRPr lang="en-SL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FA1B9-B02F-2094-B474-076FA8B3AC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4" y="1802392"/>
            <a:ext cx="10830734" cy="4110067"/>
          </a:xfrm>
        </p:spPr>
        <p:txBody>
          <a:bodyPr/>
          <a:lstStyle/>
          <a:p>
            <a:pPr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physician review of verbal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sie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VA) collected as a part of a nationally-representative survey in Sierra Leone estimated deaths due to malaria:</a:t>
            </a: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%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deaths among 15-29 years </a:t>
            </a: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%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ong 30-69 years </a:t>
            </a:r>
          </a:p>
          <a:p>
            <a:pPr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Big Question??</a:t>
            </a:r>
          </a:p>
          <a:p>
            <a:pPr>
              <a:defRPr/>
            </a:pPr>
            <a:r>
              <a:rPr kumimoji="0" lang="en-US" sz="28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</a:t>
            </a: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ld Malaria Indeed be a Common Cause of Adult Mortality?</a:t>
            </a: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f Yes: This had s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gnificant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ublic health challenges and broader socio-economic implications affecting families, healthcare systems, and national economies</a:t>
            </a:r>
            <a:r>
              <a:rPr lang="en-US" sz="28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en-SL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AF79881-2B2C-8DE9-6A01-4F95A95A95E2}"/>
              </a:ext>
            </a:extLst>
          </p:cNvPr>
          <p:cNvSpPr txBox="1">
            <a:spLocks/>
          </p:cNvSpPr>
          <p:nvPr/>
        </p:nvSpPr>
        <p:spPr>
          <a:xfrm>
            <a:off x="708124" y="494895"/>
            <a:ext cx="4257281" cy="1027044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2022</a:t>
            </a:r>
            <a:endParaRPr lang="en-US" sz="4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449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A4F67EA-B7B9-8318-CF19-D333297C3C8F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HAMPS Advantage</a:t>
            </a:r>
            <a:endParaRPr kumimoji="0" lang="en-SL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endParaRPr lang="en-SL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6EA85B9-F06A-C37E-C61C-B06559552DCB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/>
          <a:stretch>
            <a:fillRect/>
          </a:stretch>
        </p:blipFill>
        <p:spPr>
          <a:xfrm>
            <a:off x="6791479" y="1768811"/>
            <a:ext cx="5268913" cy="2240898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DD29A79-FD9E-D8E3-CAB8-F54F190F53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140" y="1599791"/>
            <a:ext cx="7963786" cy="4110037"/>
          </a:xfrm>
        </p:spPr>
        <p:txBody>
          <a:bodyPr/>
          <a:lstStyle/>
          <a:p>
            <a:pPr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Though primarily about ‘Child Health’, CHAMPS was u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quely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sitioned to take on this scientific question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itivity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specificity of verbal autopsy alone for malaria COD are not perfect. 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MPS </a:t>
            </a: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methodology is </a:t>
            </a:r>
            <a:r>
              <a:rPr lang="en-US" sz="2800" b="1" dirty="0">
                <a:solidFill>
                  <a:prstClr val="black"/>
                </a:solidFill>
                <a:latin typeface="Calibri" panose="020F0502020204030204"/>
              </a:rPr>
              <a:t>more robust</a:t>
            </a: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: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Improve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evidence for assigning causes of death for adult in high malaria transmission areas. </a:t>
            </a:r>
            <a:endParaRPr lang="en-US" sz="2800" dirty="0">
              <a:solidFill>
                <a:prstClr val="black"/>
              </a:solidFill>
              <a:latin typeface="Calibri" panose="020F0502020204030204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Includes data from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abstractions, verbal &amp; social autopsy records, laboratory investigation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including gross examination, microbiology/molecular testing, and histopathology investigations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SL" dirty="0"/>
          </a:p>
        </p:txBody>
      </p:sp>
    </p:spTree>
    <p:extLst>
      <p:ext uri="{BB962C8B-B14F-4D97-AF65-F5344CB8AC3E}">
        <p14:creationId xmlns:p14="http://schemas.microsoft.com/office/powerpoint/2010/main" val="38349643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4">
            <a:extLst>
              <a:ext uri="{FF2B5EF4-FFF2-40B4-BE49-F238E27FC236}">
                <a16:creationId xmlns:a16="http://schemas.microsoft.com/office/drawing/2014/main" id="{8BE81A80-1A30-8476-9C5C-2085104DF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8506" y="3232059"/>
            <a:ext cx="4713854" cy="2045110"/>
          </a:xfrm>
        </p:spPr>
        <p:txBody>
          <a:bodyPr/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+mn-lt"/>
              </a:rPr>
              <a:t>July 2022:</a:t>
            </a:r>
            <a:br>
              <a:rPr lang="en-US" b="1" i="0" dirty="0">
                <a:solidFill>
                  <a:schemeClr val="bg1"/>
                </a:solidFill>
                <a:effectLst/>
                <a:latin typeface="+mn-lt"/>
              </a:rPr>
            </a:br>
            <a:r>
              <a:rPr lang="en-US" b="1" i="0" dirty="0">
                <a:solidFill>
                  <a:schemeClr val="bg1"/>
                </a:solidFill>
                <a:effectLst/>
                <a:latin typeface="+mn-lt"/>
              </a:rPr>
              <a:t>Pivoting to Investigate Adult Mortality</a:t>
            </a:r>
            <a:br>
              <a:rPr lang="en-US" b="1" i="0" dirty="0">
                <a:solidFill>
                  <a:schemeClr val="bg1"/>
                </a:solidFill>
                <a:effectLst/>
                <a:latin typeface="+mn-lt"/>
              </a:rPr>
            </a:b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681440C-D4BB-32A4-BF96-217ED5E6F7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237" y="1906722"/>
            <a:ext cx="2892433" cy="1325337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3DE2F360-03EC-4BD3-F887-9B382350BB37}"/>
              </a:ext>
            </a:extLst>
          </p:cNvPr>
          <p:cNvSpPr txBox="1"/>
          <p:nvPr/>
        </p:nvSpPr>
        <p:spPr>
          <a:xfrm>
            <a:off x="5488506" y="5651182"/>
            <a:ext cx="59011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from Sierra Leone &amp; Kenya CHAMPS Sites</a:t>
            </a:r>
          </a:p>
        </p:txBody>
      </p:sp>
      <p:pic>
        <p:nvPicPr>
          <p:cNvPr id="19" name="Picture Placeholder 18" descr="A person carrying a baby&#10;&#10;AI-generated content may be incorrect.">
            <a:extLst>
              <a:ext uri="{FF2B5EF4-FFF2-40B4-BE49-F238E27FC236}">
                <a16:creationId xmlns:a16="http://schemas.microsoft.com/office/drawing/2014/main" id="{03CE7E9B-44D4-7BA2-2D0B-3A3F0E41DEBB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16" r="16016"/>
          <a:stretch>
            <a:fillRect/>
          </a:stretch>
        </p:blipFill>
        <p:spPr>
          <a:xfrm>
            <a:off x="7596188" y="-2146300"/>
            <a:ext cx="5211762" cy="5105400"/>
          </a:xfrm>
        </p:spPr>
      </p:pic>
      <p:pic>
        <p:nvPicPr>
          <p:cNvPr id="17" name="Picture Placeholder 16" descr="A person holding a baby&#10;&#10;AI-generated content may be incorrect.">
            <a:extLst>
              <a:ext uri="{FF2B5EF4-FFF2-40B4-BE49-F238E27FC236}">
                <a16:creationId xmlns:a16="http://schemas.microsoft.com/office/drawing/2014/main" id="{D5F7772A-AB17-2D9B-1619-768C920EBB6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7" r="16057"/>
          <a:stretch>
            <a:fillRect/>
          </a:stretch>
        </p:blipFill>
        <p:spPr>
          <a:xfrm>
            <a:off x="-1271587" y="1014107"/>
            <a:ext cx="6760093" cy="6622179"/>
          </a:xfrm>
        </p:spPr>
      </p:pic>
    </p:spTree>
    <p:extLst>
      <p:ext uri="{BB962C8B-B14F-4D97-AF65-F5344CB8AC3E}">
        <p14:creationId xmlns:p14="http://schemas.microsoft.com/office/powerpoint/2010/main" val="12506662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627F6A-C1C1-399B-4F76-9DAF1281F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D37C81-C434-387B-3E8B-497A76D0CF06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375564" y="650550"/>
            <a:ext cx="6163294" cy="819371"/>
          </a:xfrm>
        </p:spPr>
        <p:txBody>
          <a:bodyPr/>
          <a:lstStyle/>
          <a:p>
            <a:r>
              <a:rPr lang="en-US" sz="3600" b="1" dirty="0"/>
              <a:t>Adult Malaria Study in Sierra Leone &amp; Kenya</a:t>
            </a:r>
            <a:endParaRPr lang="en-SL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EE4FA-20B1-C6B1-B25E-6B470D139B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124" y="1802394"/>
            <a:ext cx="10830734" cy="4110067"/>
          </a:xfrm>
        </p:spPr>
        <p:txBody>
          <a:bodyPr lIns="91440" tIns="45720" rIns="91440" bIns="45720" anchor="t"/>
          <a:lstStyle/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U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 CHAMPS protocols, between July 2022 and December 2023</a:t>
            </a:r>
            <a:r>
              <a:rPr lang="en-US" sz="280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MPS network prospectively enrolled 624 adult deaths from 2 site with the highest mortality from malaria based on child cases.</a:t>
            </a:r>
          </a:p>
          <a:p>
            <a:pPr marL="1143000" lvl="1" indent="-457200"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 cases from Kenya </a:t>
            </a:r>
          </a:p>
          <a:p>
            <a:pPr marL="1143000" lvl="1" indent="-457200"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300 cases from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erra Leone</a:t>
            </a:r>
            <a:endParaRPr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s underwent a standardized minimally invasive tissue sampling (MITS) procedure to collect tissue from liver, lungs, and brain. Peripheral blood, cerebrospinal fluid (CSF), stool, and oropharyngeal/</a:t>
            </a:r>
            <a:r>
              <a:rPr lang="en-US" sz="28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sopharyngeal (OP/NP) swabs were also taken. These were all tested. </a:t>
            </a: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SL" dirty="0"/>
          </a:p>
        </p:txBody>
      </p:sp>
    </p:spTree>
    <p:extLst>
      <p:ext uri="{BB962C8B-B14F-4D97-AF65-F5344CB8AC3E}">
        <p14:creationId xmlns:p14="http://schemas.microsoft.com/office/powerpoint/2010/main" val="3687377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Q7sGSo3UqShzX7DFXq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92F2583103A3449F208B490C7D6E76" ma:contentTypeVersion="19" ma:contentTypeDescription="Create a new document." ma:contentTypeScope="" ma:versionID="0697d9a57b05a567be887db2e038ac90">
  <xsd:schema xmlns:xsd="http://www.w3.org/2001/XMLSchema" xmlns:xs="http://www.w3.org/2001/XMLSchema" xmlns:p="http://schemas.microsoft.com/office/2006/metadata/properties" xmlns:ns2="4836ad28-d45f-4307-8b81-0dde038767d3" xmlns:ns3="91b0a300-9e38-4d9d-bb91-a0dd6a8ae3ad" targetNamespace="http://schemas.microsoft.com/office/2006/metadata/properties" ma:root="true" ma:fieldsID="78101b9bd03c68ab965a046afa949f23" ns2:_="" ns3:_="">
    <xsd:import namespace="4836ad28-d45f-4307-8b81-0dde038767d3"/>
    <xsd:import namespace="91b0a300-9e38-4d9d-bb91-a0dd6a8ae3a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6ad28-d45f-4307-8b81-0dde038767d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221ff98-30bd-42a1-9958-c128dae3f71a}" ma:internalName="TaxCatchAll" ma:showField="CatchAllData" ma:web="4836ad28-d45f-4307-8b81-0dde038767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b0a300-9e38-4d9d-bb91-a0dd6a8ae3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992fa3da-db31-45ba-92de-38f16e295a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836ad28-d45f-4307-8b81-0dde038767d3" xsi:nil="true"/>
    <lcf76f155ced4ddcb4097134ff3c332f xmlns="91b0a300-9e38-4d9d-bb91-a0dd6a8ae3a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47BDBC3-8630-489F-93CD-5E637F9AE06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38EB97-5330-4848-BF62-F4C908CA0697}">
  <ds:schemaRefs>
    <ds:schemaRef ds:uri="4836ad28-d45f-4307-8b81-0dde038767d3"/>
    <ds:schemaRef ds:uri="91b0a300-9e38-4d9d-bb91-a0dd6a8ae3a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136C3D-0900-4325-A012-1334F2DBD7E6}">
  <ds:schemaRefs>
    <ds:schemaRef ds:uri="4836ad28-d45f-4307-8b81-0dde038767d3"/>
    <ds:schemaRef ds:uri="91b0a300-9e38-4d9d-bb91-a0dd6a8ae3ad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9</TotalTime>
  <Words>1613</Words>
  <Application>Microsoft Macintosh PowerPoint</Application>
  <PresentationFormat>Widescreen</PresentationFormat>
  <Paragraphs>299</Paragraphs>
  <Slides>2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Malgun Gothic</vt:lpstr>
      <vt:lpstr>Aptos</vt:lpstr>
      <vt:lpstr>Arial</vt:lpstr>
      <vt:lpstr>Calibri</vt:lpstr>
      <vt:lpstr>Gill Sans MT</vt:lpstr>
      <vt:lpstr>Lato</vt:lpstr>
      <vt:lpstr>Plus Jakarta Sans</vt:lpstr>
      <vt:lpstr>Times New Roman</vt:lpstr>
      <vt:lpstr>Trebuchet MS</vt:lpstr>
      <vt:lpstr>Office Theme</vt:lpstr>
      <vt:lpstr>Leveraging CHAMPS Infrastructure to Address the Role of Malaria in Adult Mortality</vt:lpstr>
      <vt:lpstr>PowerPoint Presentation</vt:lpstr>
      <vt:lpstr>PowerPoint Presentation</vt:lpstr>
      <vt:lpstr>PowerPoint Presentation</vt:lpstr>
      <vt:lpstr> What was new as suggested by a recent study? </vt:lpstr>
      <vt:lpstr>PowerPoint Presentation</vt:lpstr>
      <vt:lpstr>PowerPoint Presentation</vt:lpstr>
      <vt:lpstr>July 2022: Pivoting to Investigate Adult Mortality </vt:lpstr>
      <vt:lpstr>PowerPoint Presentation</vt:lpstr>
      <vt:lpstr>PowerPoint Presentation</vt:lpstr>
      <vt:lpstr>Characteristics of Study Population Enrolled at Both CHAMPS Sites (Kenya &amp; Sierra Leone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Mutai</dc:creator>
  <cp:lastModifiedBy>Adotey, Sampson Kofi</cp:lastModifiedBy>
  <cp:revision>83</cp:revision>
  <dcterms:created xsi:type="dcterms:W3CDTF">2024-12-10T15:45:47Z</dcterms:created>
  <dcterms:modified xsi:type="dcterms:W3CDTF">2025-08-08T18:1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92F2583103A3449F208B490C7D6E76</vt:lpwstr>
  </property>
  <property fmtid="{D5CDD505-2E9C-101B-9397-08002B2CF9AE}" pid="3" name="MediaServiceImageTags">
    <vt:lpwstr/>
  </property>
</Properties>
</file>